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1789" r:id="rId5"/>
    <p:sldId id="257" r:id="rId6"/>
    <p:sldId id="1843" r:id="rId7"/>
    <p:sldId id="1828" r:id="rId8"/>
    <p:sldId id="1607" r:id="rId9"/>
    <p:sldId id="1777" r:id="rId10"/>
    <p:sldId id="1788" r:id="rId11"/>
    <p:sldId id="1779" r:id="rId12"/>
    <p:sldId id="1844" r:id="rId13"/>
    <p:sldId id="1845" r:id="rId14"/>
    <p:sldId id="1846"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reth Gault" initials="GG" lastIdx="1" clrIdx="0">
    <p:extLst>
      <p:ext uri="{19B8F6BF-5375-455C-9EA6-DF929625EA0E}">
        <p15:presenceInfo xmlns:p15="http://schemas.microsoft.com/office/powerpoint/2012/main" userId="S::gareth.gault@wright-bus.com::863e1cde-9461-4320-a55e-5741be60a49b" providerId="AD"/>
      </p:ext>
    </p:extLst>
  </p:cmAuthor>
  <p:cmAuthor id="2" name="Andy Harris" initials="AH" lastIdx="1" clrIdx="1">
    <p:extLst>
      <p:ext uri="{19B8F6BF-5375-455C-9EA6-DF929625EA0E}">
        <p15:presenceInfo xmlns:p15="http://schemas.microsoft.com/office/powerpoint/2012/main" userId="S::andy.harris@wright-bus.com::48dcc91b-6f48-42cf-a4f7-e763042014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70AD47"/>
    <a:srgbClr val="EC403B"/>
    <a:srgbClr val="CD2C31"/>
    <a:srgbClr val="0493C3"/>
    <a:srgbClr val="00823B"/>
    <a:srgbClr val="55535B"/>
    <a:srgbClr val="EFB3B4"/>
    <a:srgbClr val="080808"/>
    <a:srgbClr val="B0B5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63193D-F4C4-47AF-989C-E019CF4F0E4C}" v="1" dt="2021-04-14T21:57:40.78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452" autoAdjust="0"/>
    <p:restoredTop sz="90998" autoAdjust="0"/>
  </p:normalViewPr>
  <p:slideViewPr>
    <p:cSldViewPr snapToGrid="0">
      <p:cViewPr varScale="1">
        <p:scale>
          <a:sx n="72" d="100"/>
          <a:sy n="72" d="100"/>
        </p:scale>
        <p:origin x="600"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anna Wilson (JWilson)" userId="c465db23-b75d-4b47-91f7-fb5c120a041b" providerId="ADAL" clId="{4A63193D-F4C4-47AF-989C-E019CF4F0E4C}"/>
    <pc:docChg chg="modSld">
      <pc:chgData name="Joanna Wilson (JWilson)" userId="c465db23-b75d-4b47-91f7-fb5c120a041b" providerId="ADAL" clId="{4A63193D-F4C4-47AF-989C-E019CF4F0E4C}" dt="2021-04-14T21:57:40.781" v="0" actId="1076"/>
      <pc:docMkLst>
        <pc:docMk/>
      </pc:docMkLst>
      <pc:sldChg chg="modSp">
        <pc:chgData name="Joanna Wilson (JWilson)" userId="c465db23-b75d-4b47-91f7-fb5c120a041b" providerId="ADAL" clId="{4A63193D-F4C4-47AF-989C-E019CF4F0E4C}" dt="2021-04-14T21:57:40.781" v="0" actId="1076"/>
        <pc:sldMkLst>
          <pc:docMk/>
          <pc:sldMk cId="4024622339" sldId="1789"/>
        </pc:sldMkLst>
        <pc:spChg chg="mod">
          <ac:chgData name="Joanna Wilson (JWilson)" userId="c465db23-b75d-4b47-91f7-fb5c120a041b" providerId="ADAL" clId="{4A63193D-F4C4-47AF-989C-E019CF4F0E4C}" dt="2021-04-14T21:57:40.781" v="0" actId="1076"/>
          <ac:spMkLst>
            <pc:docMk/>
            <pc:sldMk cId="4024622339" sldId="1789"/>
            <ac:spMk id="27" creationId="{122436A6-BFAE-4E4D-9677-59F1BA584545}"/>
          </ac:spMkLst>
        </pc:spChg>
        <pc:spChg chg="mod">
          <ac:chgData name="Joanna Wilson (JWilson)" userId="c465db23-b75d-4b47-91f7-fb5c120a041b" providerId="ADAL" clId="{4A63193D-F4C4-47AF-989C-E019CF4F0E4C}" dt="2021-04-14T21:57:40.781" v="0" actId="1076"/>
          <ac:spMkLst>
            <pc:docMk/>
            <pc:sldMk cId="4024622339" sldId="1789"/>
            <ac:spMk id="30" creationId="{12E7C62A-52B7-44C5-A42E-6A6E6864CF32}"/>
          </ac:spMkLst>
        </pc:spChg>
        <pc:spChg chg="mod">
          <ac:chgData name="Joanna Wilson (JWilson)" userId="c465db23-b75d-4b47-91f7-fb5c120a041b" providerId="ADAL" clId="{4A63193D-F4C4-47AF-989C-E019CF4F0E4C}" dt="2021-04-14T21:57:40.781" v="0" actId="1076"/>
          <ac:spMkLst>
            <pc:docMk/>
            <pc:sldMk cId="4024622339" sldId="1789"/>
            <ac:spMk id="31" creationId="{AC8C502A-8A27-4F2A-ABD1-E1C45143D657}"/>
          </ac:spMkLst>
        </pc:spChg>
        <pc:spChg chg="mod">
          <ac:chgData name="Joanna Wilson (JWilson)" userId="c465db23-b75d-4b47-91f7-fb5c120a041b" providerId="ADAL" clId="{4A63193D-F4C4-47AF-989C-E019CF4F0E4C}" dt="2021-04-14T21:57:40.781" v="0" actId="1076"/>
          <ac:spMkLst>
            <pc:docMk/>
            <pc:sldMk cId="4024622339" sldId="1789"/>
            <ac:spMk id="32" creationId="{6F3AEB4B-F386-49DF-AF50-7AE384987385}"/>
          </ac:spMkLst>
        </pc:spChg>
        <pc:spChg chg="mod">
          <ac:chgData name="Joanna Wilson (JWilson)" userId="c465db23-b75d-4b47-91f7-fb5c120a041b" providerId="ADAL" clId="{4A63193D-F4C4-47AF-989C-E019CF4F0E4C}" dt="2021-04-14T21:57:40.781" v="0" actId="1076"/>
          <ac:spMkLst>
            <pc:docMk/>
            <pc:sldMk cId="4024622339" sldId="1789"/>
            <ac:spMk id="33" creationId="{975420BC-D9BD-4A8C-9C12-6F0EB4238213}"/>
          </ac:spMkLst>
        </pc:spChg>
        <pc:spChg chg="mod">
          <ac:chgData name="Joanna Wilson (JWilson)" userId="c465db23-b75d-4b47-91f7-fb5c120a041b" providerId="ADAL" clId="{4A63193D-F4C4-47AF-989C-E019CF4F0E4C}" dt="2021-04-14T21:57:40.781" v="0" actId="1076"/>
          <ac:spMkLst>
            <pc:docMk/>
            <pc:sldMk cId="4024622339" sldId="1789"/>
            <ac:spMk id="35" creationId="{204D2B0F-E6F6-4AFC-AEBC-97F7F4B1E914}"/>
          </ac:spMkLst>
        </pc:spChg>
        <pc:spChg chg="mod">
          <ac:chgData name="Joanna Wilson (JWilson)" userId="c465db23-b75d-4b47-91f7-fb5c120a041b" providerId="ADAL" clId="{4A63193D-F4C4-47AF-989C-E019CF4F0E4C}" dt="2021-04-14T21:57:40.781" v="0" actId="1076"/>
          <ac:spMkLst>
            <pc:docMk/>
            <pc:sldMk cId="4024622339" sldId="1789"/>
            <ac:spMk id="36" creationId="{4EADCF2B-FD58-4045-9D53-026038270FB5}"/>
          </ac:spMkLst>
        </pc:spChg>
        <pc:spChg chg="mod">
          <ac:chgData name="Joanna Wilson (JWilson)" userId="c465db23-b75d-4b47-91f7-fb5c120a041b" providerId="ADAL" clId="{4A63193D-F4C4-47AF-989C-E019CF4F0E4C}" dt="2021-04-14T21:57:40.781" v="0" actId="1076"/>
          <ac:spMkLst>
            <pc:docMk/>
            <pc:sldMk cId="4024622339" sldId="1789"/>
            <ac:spMk id="37" creationId="{F70B9548-3366-40F4-8385-B68B7CBA2CF2}"/>
          </ac:spMkLst>
        </pc:spChg>
        <pc:spChg chg="mod">
          <ac:chgData name="Joanna Wilson (JWilson)" userId="c465db23-b75d-4b47-91f7-fb5c120a041b" providerId="ADAL" clId="{4A63193D-F4C4-47AF-989C-E019CF4F0E4C}" dt="2021-04-14T21:57:40.781" v="0" actId="1076"/>
          <ac:spMkLst>
            <pc:docMk/>
            <pc:sldMk cId="4024622339" sldId="1789"/>
            <ac:spMk id="38" creationId="{353F6730-59EE-40CA-B5FC-CCC4571240C9}"/>
          </ac:spMkLst>
        </pc:spChg>
        <pc:spChg chg="mod">
          <ac:chgData name="Joanna Wilson (JWilson)" userId="c465db23-b75d-4b47-91f7-fb5c120a041b" providerId="ADAL" clId="{4A63193D-F4C4-47AF-989C-E019CF4F0E4C}" dt="2021-04-14T21:57:40.781" v="0" actId="1076"/>
          <ac:spMkLst>
            <pc:docMk/>
            <pc:sldMk cId="4024622339" sldId="1789"/>
            <ac:spMk id="39" creationId="{432A5686-73BC-447B-9073-175D35B771D5}"/>
          </ac:spMkLst>
        </pc:spChg>
        <pc:grpChg chg="mod">
          <ac:chgData name="Joanna Wilson (JWilson)" userId="c465db23-b75d-4b47-91f7-fb5c120a041b" providerId="ADAL" clId="{4A63193D-F4C4-47AF-989C-E019CF4F0E4C}" dt="2021-04-14T21:57:40.781" v="0" actId="1076"/>
          <ac:grpSpMkLst>
            <pc:docMk/>
            <pc:sldMk cId="4024622339" sldId="1789"/>
            <ac:grpSpMk id="25" creationId="{B964448A-4126-4648-B992-5DADFF37DD32}"/>
          </ac:grpSpMkLst>
        </pc:grpChg>
        <pc:grpChg chg="mod">
          <ac:chgData name="Joanna Wilson (JWilson)" userId="c465db23-b75d-4b47-91f7-fb5c120a041b" providerId="ADAL" clId="{4A63193D-F4C4-47AF-989C-E019CF4F0E4C}" dt="2021-04-14T21:57:40.781" v="0" actId="1076"/>
          <ac:grpSpMkLst>
            <pc:docMk/>
            <pc:sldMk cId="4024622339" sldId="1789"/>
            <ac:grpSpMk id="26" creationId="{FADF6CA2-6E2C-4230-B334-CF77A38C67B9}"/>
          </ac:grpSpMkLst>
        </pc:grpChg>
        <pc:picChg chg="mod">
          <ac:chgData name="Joanna Wilson (JWilson)" userId="c465db23-b75d-4b47-91f7-fb5c120a041b" providerId="ADAL" clId="{4A63193D-F4C4-47AF-989C-E019CF4F0E4C}" dt="2021-04-14T21:57:40.781" v="0" actId="1076"/>
          <ac:picMkLst>
            <pc:docMk/>
            <pc:sldMk cId="4024622339" sldId="1789"/>
            <ac:picMk id="29" creationId="{424CCA48-51CD-423D-A910-92D91B3D669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40057285\Downloads\LC_MCA.xlsm"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ndy.harris\Desktop\OneDriveOld\Tender%20Support\Oxford\Oxford%20Route%20Card%20Analysis%20Summary%2001Apr21%20-%20Copy.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322693410714588E-2"/>
          <c:y val="7.8384557048466183E-2"/>
          <c:w val="0.82786113070692813"/>
          <c:h val="0.77319983607346165"/>
        </c:manualLayout>
      </c:layout>
      <c:scatterChart>
        <c:scatterStyle val="smoothMarker"/>
        <c:varyColors val="0"/>
        <c:ser>
          <c:idx val="0"/>
          <c:order val="0"/>
          <c:tx>
            <c:strRef>
              <c:f>'[LC_MCA.xlsm]DC model (SD,Off-peak)'!$B$19:$B$21</c:f>
              <c:strCache>
                <c:ptCount val="3"/>
                <c:pt idx="0">
                  <c:v>Velocity 
(v)</c:v>
                </c:pt>
                <c:pt idx="1">
                  <c:v>a</c:v>
                </c:pt>
                <c:pt idx="2">
                  <c:v>km/h</c:v>
                </c:pt>
              </c:strCache>
            </c:strRef>
          </c:tx>
          <c:spPr>
            <a:ln w="6350" cap="rnd">
              <a:solidFill>
                <a:srgbClr val="C00000"/>
              </a:solidFill>
              <a:round/>
            </a:ln>
            <a:effectLst/>
          </c:spPr>
          <c:marker>
            <c:symbol val="none"/>
          </c:marker>
          <c:xVal>
            <c:numRef>
              <c:f>'[LC_MCA.xlsm]DC model (SD,Off-peak)'!$A$22:$A$2327</c:f>
              <c:numCache>
                <c:formatCode>General</c:formatCode>
                <c:ptCount val="2306"/>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pt idx="2001">
                  <c:v>2001</c:v>
                </c:pt>
                <c:pt idx="2002">
                  <c:v>2002</c:v>
                </c:pt>
                <c:pt idx="2003">
                  <c:v>2003</c:v>
                </c:pt>
                <c:pt idx="2004">
                  <c:v>2004</c:v>
                </c:pt>
                <c:pt idx="2005">
                  <c:v>2005</c:v>
                </c:pt>
                <c:pt idx="2006">
                  <c:v>2006</c:v>
                </c:pt>
                <c:pt idx="2007">
                  <c:v>2007</c:v>
                </c:pt>
                <c:pt idx="2008">
                  <c:v>2008</c:v>
                </c:pt>
                <c:pt idx="2009">
                  <c:v>2009</c:v>
                </c:pt>
                <c:pt idx="2010">
                  <c:v>2010</c:v>
                </c:pt>
                <c:pt idx="2011">
                  <c:v>2011</c:v>
                </c:pt>
                <c:pt idx="2012">
                  <c:v>2012</c:v>
                </c:pt>
                <c:pt idx="2013">
                  <c:v>2013</c:v>
                </c:pt>
                <c:pt idx="2014">
                  <c:v>2014</c:v>
                </c:pt>
                <c:pt idx="2015">
                  <c:v>2015</c:v>
                </c:pt>
                <c:pt idx="2016">
                  <c:v>2016</c:v>
                </c:pt>
                <c:pt idx="2017">
                  <c:v>2017</c:v>
                </c:pt>
                <c:pt idx="2018">
                  <c:v>2018</c:v>
                </c:pt>
                <c:pt idx="2019">
                  <c:v>2019</c:v>
                </c:pt>
                <c:pt idx="2020">
                  <c:v>2020</c:v>
                </c:pt>
                <c:pt idx="2021">
                  <c:v>2021</c:v>
                </c:pt>
                <c:pt idx="2022">
                  <c:v>2022</c:v>
                </c:pt>
                <c:pt idx="2023">
                  <c:v>2023</c:v>
                </c:pt>
                <c:pt idx="2024">
                  <c:v>2024</c:v>
                </c:pt>
                <c:pt idx="2025">
                  <c:v>2025</c:v>
                </c:pt>
                <c:pt idx="2026">
                  <c:v>2026</c:v>
                </c:pt>
                <c:pt idx="2027">
                  <c:v>2027</c:v>
                </c:pt>
                <c:pt idx="2028">
                  <c:v>2028</c:v>
                </c:pt>
                <c:pt idx="2029">
                  <c:v>2029</c:v>
                </c:pt>
                <c:pt idx="2030">
                  <c:v>2030</c:v>
                </c:pt>
                <c:pt idx="2031">
                  <c:v>2031</c:v>
                </c:pt>
                <c:pt idx="2032">
                  <c:v>2032</c:v>
                </c:pt>
                <c:pt idx="2033">
                  <c:v>2033</c:v>
                </c:pt>
                <c:pt idx="2034">
                  <c:v>2034</c:v>
                </c:pt>
                <c:pt idx="2035">
                  <c:v>2035</c:v>
                </c:pt>
                <c:pt idx="2036">
                  <c:v>2036</c:v>
                </c:pt>
                <c:pt idx="2037">
                  <c:v>2037</c:v>
                </c:pt>
                <c:pt idx="2038">
                  <c:v>2038</c:v>
                </c:pt>
                <c:pt idx="2039">
                  <c:v>2039</c:v>
                </c:pt>
                <c:pt idx="2040">
                  <c:v>2040</c:v>
                </c:pt>
                <c:pt idx="2041">
                  <c:v>2041</c:v>
                </c:pt>
                <c:pt idx="2042">
                  <c:v>2042</c:v>
                </c:pt>
                <c:pt idx="2043">
                  <c:v>2043</c:v>
                </c:pt>
                <c:pt idx="2044">
                  <c:v>2044</c:v>
                </c:pt>
                <c:pt idx="2045">
                  <c:v>2045</c:v>
                </c:pt>
                <c:pt idx="2046">
                  <c:v>2046</c:v>
                </c:pt>
                <c:pt idx="2047">
                  <c:v>2047</c:v>
                </c:pt>
                <c:pt idx="2048">
                  <c:v>2048</c:v>
                </c:pt>
                <c:pt idx="2049">
                  <c:v>2049</c:v>
                </c:pt>
                <c:pt idx="2050">
                  <c:v>2050</c:v>
                </c:pt>
                <c:pt idx="2051">
                  <c:v>2051</c:v>
                </c:pt>
                <c:pt idx="2052">
                  <c:v>2052</c:v>
                </c:pt>
                <c:pt idx="2053">
                  <c:v>2053</c:v>
                </c:pt>
                <c:pt idx="2054">
                  <c:v>2054</c:v>
                </c:pt>
                <c:pt idx="2055">
                  <c:v>2055</c:v>
                </c:pt>
                <c:pt idx="2056">
                  <c:v>2056</c:v>
                </c:pt>
                <c:pt idx="2057">
                  <c:v>2057</c:v>
                </c:pt>
                <c:pt idx="2058">
                  <c:v>2058</c:v>
                </c:pt>
                <c:pt idx="2059">
                  <c:v>2059</c:v>
                </c:pt>
                <c:pt idx="2060">
                  <c:v>2060</c:v>
                </c:pt>
                <c:pt idx="2061">
                  <c:v>2061</c:v>
                </c:pt>
                <c:pt idx="2062">
                  <c:v>2062</c:v>
                </c:pt>
                <c:pt idx="2063">
                  <c:v>2063</c:v>
                </c:pt>
                <c:pt idx="2064">
                  <c:v>2064</c:v>
                </c:pt>
                <c:pt idx="2065">
                  <c:v>2065</c:v>
                </c:pt>
                <c:pt idx="2066">
                  <c:v>2066</c:v>
                </c:pt>
                <c:pt idx="2067">
                  <c:v>2067</c:v>
                </c:pt>
                <c:pt idx="2068">
                  <c:v>2068</c:v>
                </c:pt>
                <c:pt idx="2069">
                  <c:v>2069</c:v>
                </c:pt>
                <c:pt idx="2070">
                  <c:v>2070</c:v>
                </c:pt>
                <c:pt idx="2071">
                  <c:v>2071</c:v>
                </c:pt>
                <c:pt idx="2072">
                  <c:v>2072</c:v>
                </c:pt>
                <c:pt idx="2073">
                  <c:v>2073</c:v>
                </c:pt>
                <c:pt idx="2074">
                  <c:v>2074</c:v>
                </c:pt>
                <c:pt idx="2075">
                  <c:v>2075</c:v>
                </c:pt>
                <c:pt idx="2076">
                  <c:v>2076</c:v>
                </c:pt>
                <c:pt idx="2077">
                  <c:v>2077</c:v>
                </c:pt>
                <c:pt idx="2078">
                  <c:v>2078</c:v>
                </c:pt>
                <c:pt idx="2079">
                  <c:v>2079</c:v>
                </c:pt>
                <c:pt idx="2080">
                  <c:v>2080</c:v>
                </c:pt>
                <c:pt idx="2081">
                  <c:v>2081</c:v>
                </c:pt>
                <c:pt idx="2082">
                  <c:v>2082</c:v>
                </c:pt>
                <c:pt idx="2083">
                  <c:v>2083</c:v>
                </c:pt>
                <c:pt idx="2084">
                  <c:v>2084</c:v>
                </c:pt>
                <c:pt idx="2085">
                  <c:v>2085</c:v>
                </c:pt>
                <c:pt idx="2086">
                  <c:v>2086</c:v>
                </c:pt>
                <c:pt idx="2087">
                  <c:v>2087</c:v>
                </c:pt>
                <c:pt idx="2088">
                  <c:v>2088</c:v>
                </c:pt>
                <c:pt idx="2089">
                  <c:v>2089</c:v>
                </c:pt>
                <c:pt idx="2090">
                  <c:v>2090</c:v>
                </c:pt>
                <c:pt idx="2091">
                  <c:v>2091</c:v>
                </c:pt>
                <c:pt idx="2092">
                  <c:v>2092</c:v>
                </c:pt>
                <c:pt idx="2093">
                  <c:v>2093</c:v>
                </c:pt>
                <c:pt idx="2094">
                  <c:v>2094</c:v>
                </c:pt>
                <c:pt idx="2095">
                  <c:v>2095</c:v>
                </c:pt>
                <c:pt idx="2096">
                  <c:v>2096</c:v>
                </c:pt>
                <c:pt idx="2097">
                  <c:v>2097</c:v>
                </c:pt>
                <c:pt idx="2098">
                  <c:v>2098</c:v>
                </c:pt>
                <c:pt idx="2099">
                  <c:v>2099</c:v>
                </c:pt>
                <c:pt idx="2100">
                  <c:v>2100</c:v>
                </c:pt>
                <c:pt idx="2101">
                  <c:v>2101</c:v>
                </c:pt>
                <c:pt idx="2102">
                  <c:v>2102</c:v>
                </c:pt>
                <c:pt idx="2103">
                  <c:v>2103</c:v>
                </c:pt>
                <c:pt idx="2104">
                  <c:v>2104</c:v>
                </c:pt>
                <c:pt idx="2105">
                  <c:v>2105</c:v>
                </c:pt>
                <c:pt idx="2106">
                  <c:v>2106</c:v>
                </c:pt>
                <c:pt idx="2107">
                  <c:v>2107</c:v>
                </c:pt>
                <c:pt idx="2108">
                  <c:v>2108</c:v>
                </c:pt>
                <c:pt idx="2109">
                  <c:v>2109</c:v>
                </c:pt>
                <c:pt idx="2110">
                  <c:v>2110</c:v>
                </c:pt>
                <c:pt idx="2111">
                  <c:v>2111</c:v>
                </c:pt>
                <c:pt idx="2112">
                  <c:v>2112</c:v>
                </c:pt>
                <c:pt idx="2113">
                  <c:v>2113</c:v>
                </c:pt>
                <c:pt idx="2114">
                  <c:v>2114</c:v>
                </c:pt>
                <c:pt idx="2115">
                  <c:v>2115</c:v>
                </c:pt>
                <c:pt idx="2116">
                  <c:v>2116</c:v>
                </c:pt>
                <c:pt idx="2117">
                  <c:v>2117</c:v>
                </c:pt>
                <c:pt idx="2118">
                  <c:v>2118</c:v>
                </c:pt>
                <c:pt idx="2119">
                  <c:v>2119</c:v>
                </c:pt>
                <c:pt idx="2120">
                  <c:v>2120</c:v>
                </c:pt>
                <c:pt idx="2121">
                  <c:v>2121</c:v>
                </c:pt>
                <c:pt idx="2122">
                  <c:v>2122</c:v>
                </c:pt>
                <c:pt idx="2123">
                  <c:v>2123</c:v>
                </c:pt>
                <c:pt idx="2124">
                  <c:v>2124</c:v>
                </c:pt>
                <c:pt idx="2125">
                  <c:v>2125</c:v>
                </c:pt>
                <c:pt idx="2126">
                  <c:v>2126</c:v>
                </c:pt>
                <c:pt idx="2127">
                  <c:v>2127</c:v>
                </c:pt>
                <c:pt idx="2128">
                  <c:v>2128</c:v>
                </c:pt>
                <c:pt idx="2129">
                  <c:v>2129</c:v>
                </c:pt>
                <c:pt idx="2130">
                  <c:v>2130</c:v>
                </c:pt>
                <c:pt idx="2131">
                  <c:v>2131</c:v>
                </c:pt>
                <c:pt idx="2132">
                  <c:v>2132</c:v>
                </c:pt>
                <c:pt idx="2133">
                  <c:v>2133</c:v>
                </c:pt>
                <c:pt idx="2134">
                  <c:v>2134</c:v>
                </c:pt>
                <c:pt idx="2135">
                  <c:v>2135</c:v>
                </c:pt>
                <c:pt idx="2136">
                  <c:v>2136</c:v>
                </c:pt>
                <c:pt idx="2137">
                  <c:v>2137</c:v>
                </c:pt>
                <c:pt idx="2138">
                  <c:v>2138</c:v>
                </c:pt>
                <c:pt idx="2139">
                  <c:v>2139</c:v>
                </c:pt>
                <c:pt idx="2140">
                  <c:v>2140</c:v>
                </c:pt>
                <c:pt idx="2141">
                  <c:v>2141</c:v>
                </c:pt>
                <c:pt idx="2142">
                  <c:v>2142</c:v>
                </c:pt>
                <c:pt idx="2143">
                  <c:v>2143</c:v>
                </c:pt>
                <c:pt idx="2144">
                  <c:v>2144</c:v>
                </c:pt>
                <c:pt idx="2145">
                  <c:v>2145</c:v>
                </c:pt>
                <c:pt idx="2146">
                  <c:v>2146</c:v>
                </c:pt>
                <c:pt idx="2147">
                  <c:v>2147</c:v>
                </c:pt>
                <c:pt idx="2148">
                  <c:v>2148</c:v>
                </c:pt>
                <c:pt idx="2149">
                  <c:v>2149</c:v>
                </c:pt>
                <c:pt idx="2150">
                  <c:v>2150</c:v>
                </c:pt>
                <c:pt idx="2151">
                  <c:v>2151</c:v>
                </c:pt>
                <c:pt idx="2152">
                  <c:v>2152</c:v>
                </c:pt>
                <c:pt idx="2153">
                  <c:v>2153</c:v>
                </c:pt>
                <c:pt idx="2154">
                  <c:v>2154</c:v>
                </c:pt>
                <c:pt idx="2155">
                  <c:v>2155</c:v>
                </c:pt>
                <c:pt idx="2156">
                  <c:v>2156</c:v>
                </c:pt>
                <c:pt idx="2157">
                  <c:v>2157</c:v>
                </c:pt>
                <c:pt idx="2158">
                  <c:v>2158</c:v>
                </c:pt>
                <c:pt idx="2159">
                  <c:v>2159</c:v>
                </c:pt>
                <c:pt idx="2160">
                  <c:v>2160</c:v>
                </c:pt>
                <c:pt idx="2161">
                  <c:v>2161</c:v>
                </c:pt>
                <c:pt idx="2162">
                  <c:v>2162</c:v>
                </c:pt>
                <c:pt idx="2163">
                  <c:v>2163</c:v>
                </c:pt>
                <c:pt idx="2164">
                  <c:v>2164</c:v>
                </c:pt>
                <c:pt idx="2165">
                  <c:v>2165</c:v>
                </c:pt>
                <c:pt idx="2166">
                  <c:v>2166</c:v>
                </c:pt>
                <c:pt idx="2167">
                  <c:v>2167</c:v>
                </c:pt>
                <c:pt idx="2168">
                  <c:v>2168</c:v>
                </c:pt>
                <c:pt idx="2169">
                  <c:v>2169</c:v>
                </c:pt>
                <c:pt idx="2170">
                  <c:v>2170</c:v>
                </c:pt>
                <c:pt idx="2171">
                  <c:v>2171</c:v>
                </c:pt>
                <c:pt idx="2172">
                  <c:v>2172</c:v>
                </c:pt>
                <c:pt idx="2173">
                  <c:v>2173</c:v>
                </c:pt>
                <c:pt idx="2174">
                  <c:v>2174</c:v>
                </c:pt>
                <c:pt idx="2175">
                  <c:v>2175</c:v>
                </c:pt>
                <c:pt idx="2176">
                  <c:v>2176</c:v>
                </c:pt>
                <c:pt idx="2177">
                  <c:v>2177</c:v>
                </c:pt>
                <c:pt idx="2178">
                  <c:v>2178</c:v>
                </c:pt>
                <c:pt idx="2179">
                  <c:v>2179</c:v>
                </c:pt>
                <c:pt idx="2180">
                  <c:v>2180</c:v>
                </c:pt>
                <c:pt idx="2181">
                  <c:v>2181</c:v>
                </c:pt>
                <c:pt idx="2182">
                  <c:v>2182</c:v>
                </c:pt>
                <c:pt idx="2183">
                  <c:v>2183</c:v>
                </c:pt>
                <c:pt idx="2184">
                  <c:v>2184</c:v>
                </c:pt>
                <c:pt idx="2185">
                  <c:v>2185</c:v>
                </c:pt>
                <c:pt idx="2186">
                  <c:v>2186</c:v>
                </c:pt>
                <c:pt idx="2187">
                  <c:v>2187</c:v>
                </c:pt>
                <c:pt idx="2188">
                  <c:v>2188</c:v>
                </c:pt>
                <c:pt idx="2189">
                  <c:v>2189</c:v>
                </c:pt>
                <c:pt idx="2190">
                  <c:v>2190</c:v>
                </c:pt>
                <c:pt idx="2191">
                  <c:v>2191</c:v>
                </c:pt>
                <c:pt idx="2192">
                  <c:v>2192</c:v>
                </c:pt>
                <c:pt idx="2193">
                  <c:v>2193</c:v>
                </c:pt>
                <c:pt idx="2194">
                  <c:v>2194</c:v>
                </c:pt>
                <c:pt idx="2195">
                  <c:v>2195</c:v>
                </c:pt>
                <c:pt idx="2196">
                  <c:v>2196</c:v>
                </c:pt>
                <c:pt idx="2197">
                  <c:v>2197</c:v>
                </c:pt>
                <c:pt idx="2198">
                  <c:v>2198</c:v>
                </c:pt>
                <c:pt idx="2199">
                  <c:v>2199</c:v>
                </c:pt>
                <c:pt idx="2200">
                  <c:v>2200</c:v>
                </c:pt>
                <c:pt idx="2201">
                  <c:v>2201</c:v>
                </c:pt>
                <c:pt idx="2202">
                  <c:v>2202</c:v>
                </c:pt>
                <c:pt idx="2203">
                  <c:v>2203</c:v>
                </c:pt>
                <c:pt idx="2204">
                  <c:v>2204</c:v>
                </c:pt>
                <c:pt idx="2205">
                  <c:v>2205</c:v>
                </c:pt>
                <c:pt idx="2206">
                  <c:v>2206</c:v>
                </c:pt>
                <c:pt idx="2207">
                  <c:v>2207</c:v>
                </c:pt>
                <c:pt idx="2208">
                  <c:v>2208</c:v>
                </c:pt>
                <c:pt idx="2209">
                  <c:v>2209</c:v>
                </c:pt>
                <c:pt idx="2210">
                  <c:v>2210</c:v>
                </c:pt>
                <c:pt idx="2211">
                  <c:v>2211</c:v>
                </c:pt>
                <c:pt idx="2212">
                  <c:v>2212</c:v>
                </c:pt>
                <c:pt idx="2213">
                  <c:v>2213</c:v>
                </c:pt>
                <c:pt idx="2214">
                  <c:v>2214</c:v>
                </c:pt>
                <c:pt idx="2215">
                  <c:v>2215</c:v>
                </c:pt>
                <c:pt idx="2216">
                  <c:v>2216</c:v>
                </c:pt>
                <c:pt idx="2217">
                  <c:v>2217</c:v>
                </c:pt>
                <c:pt idx="2218">
                  <c:v>2218</c:v>
                </c:pt>
                <c:pt idx="2219">
                  <c:v>2219</c:v>
                </c:pt>
                <c:pt idx="2220">
                  <c:v>2220</c:v>
                </c:pt>
                <c:pt idx="2221">
                  <c:v>2221</c:v>
                </c:pt>
                <c:pt idx="2222">
                  <c:v>2222</c:v>
                </c:pt>
                <c:pt idx="2223">
                  <c:v>2223</c:v>
                </c:pt>
                <c:pt idx="2224">
                  <c:v>2224</c:v>
                </c:pt>
                <c:pt idx="2225">
                  <c:v>2225</c:v>
                </c:pt>
                <c:pt idx="2226">
                  <c:v>2226</c:v>
                </c:pt>
                <c:pt idx="2227">
                  <c:v>2227</c:v>
                </c:pt>
                <c:pt idx="2228">
                  <c:v>2228</c:v>
                </c:pt>
                <c:pt idx="2229">
                  <c:v>2229</c:v>
                </c:pt>
                <c:pt idx="2230">
                  <c:v>2230</c:v>
                </c:pt>
                <c:pt idx="2231">
                  <c:v>2231</c:v>
                </c:pt>
                <c:pt idx="2232">
                  <c:v>2232</c:v>
                </c:pt>
                <c:pt idx="2233">
                  <c:v>2233</c:v>
                </c:pt>
                <c:pt idx="2234">
                  <c:v>2234</c:v>
                </c:pt>
                <c:pt idx="2235">
                  <c:v>2235</c:v>
                </c:pt>
                <c:pt idx="2236">
                  <c:v>2236</c:v>
                </c:pt>
                <c:pt idx="2237">
                  <c:v>2237</c:v>
                </c:pt>
                <c:pt idx="2238">
                  <c:v>2238</c:v>
                </c:pt>
                <c:pt idx="2239">
                  <c:v>2239</c:v>
                </c:pt>
                <c:pt idx="2240">
                  <c:v>2240</c:v>
                </c:pt>
                <c:pt idx="2241">
                  <c:v>2241</c:v>
                </c:pt>
                <c:pt idx="2242">
                  <c:v>2242</c:v>
                </c:pt>
                <c:pt idx="2243">
                  <c:v>2243</c:v>
                </c:pt>
                <c:pt idx="2244">
                  <c:v>2244</c:v>
                </c:pt>
                <c:pt idx="2245">
                  <c:v>2245</c:v>
                </c:pt>
                <c:pt idx="2246">
                  <c:v>2246</c:v>
                </c:pt>
                <c:pt idx="2247">
                  <c:v>2247</c:v>
                </c:pt>
                <c:pt idx="2248">
                  <c:v>2248</c:v>
                </c:pt>
                <c:pt idx="2249">
                  <c:v>2249</c:v>
                </c:pt>
                <c:pt idx="2250">
                  <c:v>2250</c:v>
                </c:pt>
                <c:pt idx="2251">
                  <c:v>2251</c:v>
                </c:pt>
                <c:pt idx="2252">
                  <c:v>2252</c:v>
                </c:pt>
                <c:pt idx="2253">
                  <c:v>2253</c:v>
                </c:pt>
                <c:pt idx="2254">
                  <c:v>2254</c:v>
                </c:pt>
                <c:pt idx="2255">
                  <c:v>2255</c:v>
                </c:pt>
                <c:pt idx="2256">
                  <c:v>2256</c:v>
                </c:pt>
                <c:pt idx="2257">
                  <c:v>2257</c:v>
                </c:pt>
                <c:pt idx="2258">
                  <c:v>2258</c:v>
                </c:pt>
                <c:pt idx="2259">
                  <c:v>2259</c:v>
                </c:pt>
                <c:pt idx="2260">
                  <c:v>2260</c:v>
                </c:pt>
                <c:pt idx="2261">
                  <c:v>2261</c:v>
                </c:pt>
                <c:pt idx="2262">
                  <c:v>2262</c:v>
                </c:pt>
                <c:pt idx="2263">
                  <c:v>2263</c:v>
                </c:pt>
                <c:pt idx="2264">
                  <c:v>2264</c:v>
                </c:pt>
                <c:pt idx="2265">
                  <c:v>2265</c:v>
                </c:pt>
                <c:pt idx="2266">
                  <c:v>2266</c:v>
                </c:pt>
                <c:pt idx="2267">
                  <c:v>2267</c:v>
                </c:pt>
                <c:pt idx="2268">
                  <c:v>2268</c:v>
                </c:pt>
                <c:pt idx="2269">
                  <c:v>2269</c:v>
                </c:pt>
                <c:pt idx="2270">
                  <c:v>2270</c:v>
                </c:pt>
                <c:pt idx="2271">
                  <c:v>2271</c:v>
                </c:pt>
                <c:pt idx="2272">
                  <c:v>2272</c:v>
                </c:pt>
                <c:pt idx="2273">
                  <c:v>2273</c:v>
                </c:pt>
                <c:pt idx="2274">
                  <c:v>2274</c:v>
                </c:pt>
                <c:pt idx="2275">
                  <c:v>2275</c:v>
                </c:pt>
                <c:pt idx="2276">
                  <c:v>2276</c:v>
                </c:pt>
                <c:pt idx="2277">
                  <c:v>2277</c:v>
                </c:pt>
                <c:pt idx="2278">
                  <c:v>2278</c:v>
                </c:pt>
                <c:pt idx="2279">
                  <c:v>2279</c:v>
                </c:pt>
                <c:pt idx="2280">
                  <c:v>2280</c:v>
                </c:pt>
                <c:pt idx="2281">
                  <c:v>2281</c:v>
                </c:pt>
                <c:pt idx="2282">
                  <c:v>2282</c:v>
                </c:pt>
                <c:pt idx="2283">
                  <c:v>2283</c:v>
                </c:pt>
                <c:pt idx="2284">
                  <c:v>2284</c:v>
                </c:pt>
                <c:pt idx="2285">
                  <c:v>2285</c:v>
                </c:pt>
                <c:pt idx="2286">
                  <c:v>2286</c:v>
                </c:pt>
                <c:pt idx="2287">
                  <c:v>2287</c:v>
                </c:pt>
                <c:pt idx="2288">
                  <c:v>2288</c:v>
                </c:pt>
                <c:pt idx="2289">
                  <c:v>2289</c:v>
                </c:pt>
                <c:pt idx="2290">
                  <c:v>2290</c:v>
                </c:pt>
                <c:pt idx="2291">
                  <c:v>2291</c:v>
                </c:pt>
                <c:pt idx="2292">
                  <c:v>2292</c:v>
                </c:pt>
                <c:pt idx="2293">
                  <c:v>2293</c:v>
                </c:pt>
                <c:pt idx="2294">
                  <c:v>2294</c:v>
                </c:pt>
                <c:pt idx="2295">
                  <c:v>2295</c:v>
                </c:pt>
                <c:pt idx="2296">
                  <c:v>2296</c:v>
                </c:pt>
                <c:pt idx="2297">
                  <c:v>2297</c:v>
                </c:pt>
                <c:pt idx="2298">
                  <c:v>2298</c:v>
                </c:pt>
                <c:pt idx="2299">
                  <c:v>2299</c:v>
                </c:pt>
                <c:pt idx="2300">
                  <c:v>2300</c:v>
                </c:pt>
                <c:pt idx="2301">
                  <c:v>2301</c:v>
                </c:pt>
                <c:pt idx="2302">
                  <c:v>2302</c:v>
                </c:pt>
                <c:pt idx="2303">
                  <c:v>2303</c:v>
                </c:pt>
                <c:pt idx="2304">
                  <c:v>2304</c:v>
                </c:pt>
                <c:pt idx="2305">
                  <c:v>2305</c:v>
                </c:pt>
              </c:numCache>
            </c:numRef>
          </c:xVal>
          <c:yVal>
            <c:numRef>
              <c:f>'[LC_MCA.xlsm]DC model (SD,Off-peak)'!$B$22:$B$2327</c:f>
              <c:numCache>
                <c:formatCode>0.0</c:formatCode>
                <c:ptCount val="230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4.1992172999999999</c:v>
                </c:pt>
                <c:pt idx="43">
                  <c:v>8.1992159000000004</c:v>
                </c:pt>
                <c:pt idx="44">
                  <c:v>10.898434</c:v>
                </c:pt>
                <c:pt idx="45">
                  <c:v>12.699214</c:v>
                </c:pt>
                <c:pt idx="46">
                  <c:v>14.499993999999999</c:v>
                </c:pt>
                <c:pt idx="47">
                  <c:v>16.296869000000001</c:v>
                </c:pt>
                <c:pt idx="48">
                  <c:v>17.999991999999999</c:v>
                </c:pt>
                <c:pt idx="49">
                  <c:v>19.999991999999999</c:v>
                </c:pt>
                <c:pt idx="50">
                  <c:v>22.398430000000001</c:v>
                </c:pt>
                <c:pt idx="51">
                  <c:v>23.796865</c:v>
                </c:pt>
                <c:pt idx="52">
                  <c:v>25.49999</c:v>
                </c:pt>
                <c:pt idx="53">
                  <c:v>26.296865</c:v>
                </c:pt>
                <c:pt idx="54">
                  <c:v>26.898427999999999</c:v>
                </c:pt>
                <c:pt idx="55">
                  <c:v>27.699209</c:v>
                </c:pt>
                <c:pt idx="56">
                  <c:v>28.597645</c:v>
                </c:pt>
                <c:pt idx="57">
                  <c:v>29.296863999999999</c:v>
                </c:pt>
                <c:pt idx="58">
                  <c:v>30.097645</c:v>
                </c:pt>
                <c:pt idx="59">
                  <c:v>30.999988999999999</c:v>
                </c:pt>
                <c:pt idx="60">
                  <c:v>31.597645</c:v>
                </c:pt>
                <c:pt idx="61">
                  <c:v>31.699207000000001</c:v>
                </c:pt>
                <c:pt idx="62">
                  <c:v>30.999988999999999</c:v>
                </c:pt>
                <c:pt idx="63">
                  <c:v>30.699207000000001</c:v>
                </c:pt>
                <c:pt idx="64">
                  <c:v>30.398426000000001</c:v>
                </c:pt>
                <c:pt idx="65">
                  <c:v>30.499988999999999</c:v>
                </c:pt>
                <c:pt idx="66">
                  <c:v>30.199207000000001</c:v>
                </c:pt>
                <c:pt idx="67">
                  <c:v>30.097645</c:v>
                </c:pt>
                <c:pt idx="68">
                  <c:v>29.999988999999999</c:v>
                </c:pt>
                <c:pt idx="69">
                  <c:v>29.898426000000001</c:v>
                </c:pt>
                <c:pt idx="70">
                  <c:v>29.898426000000001</c:v>
                </c:pt>
                <c:pt idx="71">
                  <c:v>29.796863999999999</c:v>
                </c:pt>
                <c:pt idx="72">
                  <c:v>29.699207000000001</c:v>
                </c:pt>
                <c:pt idx="73">
                  <c:v>29.499988999999999</c:v>
                </c:pt>
                <c:pt idx="74">
                  <c:v>29.398426000000001</c:v>
                </c:pt>
                <c:pt idx="75">
                  <c:v>29.296863999999999</c:v>
                </c:pt>
                <c:pt idx="76">
                  <c:v>29.097645</c:v>
                </c:pt>
                <c:pt idx="77">
                  <c:v>28.796863999999999</c:v>
                </c:pt>
                <c:pt idx="78">
                  <c:v>28.398426000000001</c:v>
                </c:pt>
                <c:pt idx="79">
                  <c:v>27.796865</c:v>
                </c:pt>
                <c:pt idx="80">
                  <c:v>26.199209</c:v>
                </c:pt>
                <c:pt idx="81">
                  <c:v>24.199209</c:v>
                </c:pt>
                <c:pt idx="82">
                  <c:v>21.796866999999999</c:v>
                </c:pt>
                <c:pt idx="83">
                  <c:v>18.199210999999998</c:v>
                </c:pt>
                <c:pt idx="84">
                  <c:v>15.296868999999999</c:v>
                </c:pt>
                <c:pt idx="85">
                  <c:v>12.097651000000001</c:v>
                </c:pt>
                <c:pt idx="86">
                  <c:v>9.3984337</c:v>
                </c:pt>
                <c:pt idx="87">
                  <c:v>4.7968731</c:v>
                </c:pt>
                <c:pt idx="88">
                  <c:v>2.7968739999999999</c:v>
                </c:pt>
                <c:pt idx="89">
                  <c:v>1.1992183000000001</c:v>
                </c:pt>
                <c:pt idx="90">
                  <c:v>0.49999981999999998</c:v>
                </c:pt>
                <c:pt idx="91">
                  <c:v>0</c:v>
                </c:pt>
                <c:pt idx="92">
                  <c:v>0</c:v>
                </c:pt>
                <c:pt idx="93">
                  <c:v>0</c:v>
                </c:pt>
                <c:pt idx="94">
                  <c:v>0</c:v>
                </c:pt>
                <c:pt idx="95">
                  <c:v>0</c:v>
                </c:pt>
                <c:pt idx="96">
                  <c:v>0</c:v>
                </c:pt>
                <c:pt idx="97">
                  <c:v>1.5976557</c:v>
                </c:pt>
                <c:pt idx="98">
                  <c:v>3.0976550999999999</c:v>
                </c:pt>
                <c:pt idx="99">
                  <c:v>5.8984351000000004</c:v>
                </c:pt>
                <c:pt idx="100">
                  <c:v>8.9999962</c:v>
                </c:pt>
                <c:pt idx="101">
                  <c:v>12.097651000000001</c:v>
                </c:pt>
                <c:pt idx="102">
                  <c:v>14.199213</c:v>
                </c:pt>
                <c:pt idx="103">
                  <c:v>15.898432</c:v>
                </c:pt>
                <c:pt idx="104">
                  <c:v>17.296869000000001</c:v>
                </c:pt>
                <c:pt idx="105">
                  <c:v>19.398430000000001</c:v>
                </c:pt>
                <c:pt idx="106">
                  <c:v>19.296866999999999</c:v>
                </c:pt>
                <c:pt idx="107">
                  <c:v>17.499994000000001</c:v>
                </c:pt>
                <c:pt idx="108">
                  <c:v>14.999993999999999</c:v>
                </c:pt>
                <c:pt idx="109">
                  <c:v>11.898433000000001</c:v>
                </c:pt>
                <c:pt idx="110">
                  <c:v>9.8984337</c:v>
                </c:pt>
                <c:pt idx="111">
                  <c:v>5.3984356</c:v>
                </c:pt>
                <c:pt idx="112">
                  <c:v>2.8984363000000002</c:v>
                </c:pt>
                <c:pt idx="113">
                  <c:v>1.5976557</c:v>
                </c:pt>
                <c:pt idx="114">
                  <c:v>1.4999994000000001</c:v>
                </c:pt>
                <c:pt idx="115">
                  <c:v>0.89843713999999997</c:v>
                </c:pt>
                <c:pt idx="116">
                  <c:v>0.49999981999999998</c:v>
                </c:pt>
                <c:pt idx="117">
                  <c:v>0</c:v>
                </c:pt>
                <c:pt idx="118">
                  <c:v>0</c:v>
                </c:pt>
                <c:pt idx="119">
                  <c:v>0</c:v>
                </c:pt>
                <c:pt idx="120">
                  <c:v>0</c:v>
                </c:pt>
                <c:pt idx="121">
                  <c:v>0</c:v>
                </c:pt>
                <c:pt idx="122">
                  <c:v>0</c:v>
                </c:pt>
                <c:pt idx="123">
                  <c:v>0</c:v>
                </c:pt>
                <c:pt idx="124">
                  <c:v>1.4999994000000001</c:v>
                </c:pt>
                <c:pt idx="125">
                  <c:v>3.1992175999999999</c:v>
                </c:pt>
                <c:pt idx="126">
                  <c:v>4.8984356</c:v>
                </c:pt>
                <c:pt idx="127">
                  <c:v>5.3984356</c:v>
                </c:pt>
                <c:pt idx="128">
                  <c:v>5.6992168000000003</c:v>
                </c:pt>
                <c:pt idx="129">
                  <c:v>5.8984351000000004</c:v>
                </c:pt>
                <c:pt idx="130">
                  <c:v>5.9999976000000004</c:v>
                </c:pt>
                <c:pt idx="131">
                  <c:v>6.0976539000000001</c:v>
                </c:pt>
                <c:pt idx="132">
                  <c:v>5.7968726000000004</c:v>
                </c:pt>
                <c:pt idx="133">
                  <c:v>5.4999981</c:v>
                </c:pt>
                <c:pt idx="134">
                  <c:v>4.6992168000000003</c:v>
                </c:pt>
                <c:pt idx="135">
                  <c:v>2.4999989999999999</c:v>
                </c:pt>
                <c:pt idx="136">
                  <c:v>0.89843713999999997</c:v>
                </c:pt>
                <c:pt idx="137">
                  <c:v>0.49999981999999998</c:v>
                </c:pt>
                <c:pt idx="138">
                  <c:v>0</c:v>
                </c:pt>
                <c:pt idx="139">
                  <c:v>0</c:v>
                </c:pt>
                <c:pt idx="140">
                  <c:v>0</c:v>
                </c:pt>
                <c:pt idx="141">
                  <c:v>0</c:v>
                </c:pt>
                <c:pt idx="142">
                  <c:v>0</c:v>
                </c:pt>
                <c:pt idx="143">
                  <c:v>0</c:v>
                </c:pt>
                <c:pt idx="144">
                  <c:v>0</c:v>
                </c:pt>
                <c:pt idx="145">
                  <c:v>2.4999989999999999</c:v>
                </c:pt>
                <c:pt idx="146">
                  <c:v>5.1992168000000003</c:v>
                </c:pt>
                <c:pt idx="147">
                  <c:v>7.3984345999999999</c:v>
                </c:pt>
                <c:pt idx="148">
                  <c:v>9.0976523999999994</c:v>
                </c:pt>
                <c:pt idx="149">
                  <c:v>11.097652</c:v>
                </c:pt>
                <c:pt idx="150">
                  <c:v>13.29687</c:v>
                </c:pt>
                <c:pt idx="151">
                  <c:v>16.199213</c:v>
                </c:pt>
                <c:pt idx="152">
                  <c:v>18.699210999999998</c:v>
                </c:pt>
                <c:pt idx="153">
                  <c:v>21.597649000000001</c:v>
                </c:pt>
                <c:pt idx="154">
                  <c:v>23.097646999999998</c:v>
                </c:pt>
                <c:pt idx="155">
                  <c:v>25.49999</c:v>
                </c:pt>
                <c:pt idx="156">
                  <c:v>27.097646999999998</c:v>
                </c:pt>
                <c:pt idx="157">
                  <c:v>27.99999</c:v>
                </c:pt>
                <c:pt idx="158">
                  <c:v>27.699209</c:v>
                </c:pt>
                <c:pt idx="159">
                  <c:v>26.796865</c:v>
                </c:pt>
                <c:pt idx="160">
                  <c:v>24.99999</c:v>
                </c:pt>
                <c:pt idx="161">
                  <c:v>23.898427999999999</c:v>
                </c:pt>
                <c:pt idx="162">
                  <c:v>23.49999</c:v>
                </c:pt>
                <c:pt idx="163">
                  <c:v>24.398427999999999</c:v>
                </c:pt>
                <c:pt idx="164">
                  <c:v>25.796865</c:v>
                </c:pt>
                <c:pt idx="165">
                  <c:v>27.296865</c:v>
                </c:pt>
                <c:pt idx="166">
                  <c:v>28.796863999999999</c:v>
                </c:pt>
                <c:pt idx="167">
                  <c:v>30.898426000000001</c:v>
                </c:pt>
                <c:pt idx="168">
                  <c:v>32.999988999999999</c:v>
                </c:pt>
                <c:pt idx="169">
                  <c:v>34.796863999999999</c:v>
                </c:pt>
                <c:pt idx="170">
                  <c:v>35.999985000000002</c:v>
                </c:pt>
                <c:pt idx="171">
                  <c:v>36.796860000000002</c:v>
                </c:pt>
                <c:pt idx="172">
                  <c:v>37.898421999999997</c:v>
                </c:pt>
                <c:pt idx="173">
                  <c:v>38.699202999999997</c:v>
                </c:pt>
                <c:pt idx="174">
                  <c:v>39.699202999999997</c:v>
                </c:pt>
                <c:pt idx="175">
                  <c:v>40.499985000000002</c:v>
                </c:pt>
                <c:pt idx="176">
                  <c:v>41.398421999999997</c:v>
                </c:pt>
                <c:pt idx="177">
                  <c:v>42.296860000000002</c:v>
                </c:pt>
                <c:pt idx="178">
                  <c:v>43.199202999999997</c:v>
                </c:pt>
                <c:pt idx="179">
                  <c:v>43.699202999999997</c:v>
                </c:pt>
                <c:pt idx="180">
                  <c:v>43.597641000000003</c:v>
                </c:pt>
                <c:pt idx="181">
                  <c:v>43.296860000000002</c:v>
                </c:pt>
                <c:pt idx="182">
                  <c:v>42.796860000000002</c:v>
                </c:pt>
                <c:pt idx="183">
                  <c:v>42.199202999999997</c:v>
                </c:pt>
                <c:pt idx="184">
                  <c:v>41.898421999999997</c:v>
                </c:pt>
                <c:pt idx="185">
                  <c:v>41.398421999999997</c:v>
                </c:pt>
                <c:pt idx="186">
                  <c:v>39.597641000000003</c:v>
                </c:pt>
                <c:pt idx="187">
                  <c:v>37.999985000000002</c:v>
                </c:pt>
                <c:pt idx="188">
                  <c:v>36.199202999999997</c:v>
                </c:pt>
                <c:pt idx="189">
                  <c:v>33.699207000000001</c:v>
                </c:pt>
                <c:pt idx="190">
                  <c:v>29.597645</c:v>
                </c:pt>
                <c:pt idx="191">
                  <c:v>25.699209</c:v>
                </c:pt>
                <c:pt idx="192">
                  <c:v>21.699210999999998</c:v>
                </c:pt>
                <c:pt idx="193">
                  <c:v>17.597650999999999</c:v>
                </c:pt>
                <c:pt idx="194">
                  <c:v>14.199213</c:v>
                </c:pt>
                <c:pt idx="195">
                  <c:v>10.597652</c:v>
                </c:pt>
                <c:pt idx="196">
                  <c:v>9.0976523999999994</c:v>
                </c:pt>
                <c:pt idx="197">
                  <c:v>10.199215000000001</c:v>
                </c:pt>
                <c:pt idx="198">
                  <c:v>12.79687</c:v>
                </c:pt>
                <c:pt idx="199">
                  <c:v>15.398432</c:v>
                </c:pt>
                <c:pt idx="200">
                  <c:v>17.999991999999999</c:v>
                </c:pt>
                <c:pt idx="201">
                  <c:v>16.796869000000001</c:v>
                </c:pt>
                <c:pt idx="202">
                  <c:v>14.796868999999999</c:v>
                </c:pt>
                <c:pt idx="203">
                  <c:v>13.29687</c:v>
                </c:pt>
                <c:pt idx="204">
                  <c:v>12.79687</c:v>
                </c:pt>
                <c:pt idx="205">
                  <c:v>11.898433000000001</c:v>
                </c:pt>
                <c:pt idx="206">
                  <c:v>10.699215000000001</c:v>
                </c:pt>
                <c:pt idx="207">
                  <c:v>9.8984337</c:v>
                </c:pt>
                <c:pt idx="208">
                  <c:v>8.5976534000000004</c:v>
                </c:pt>
                <c:pt idx="209">
                  <c:v>6.4999976000000004</c:v>
                </c:pt>
                <c:pt idx="210">
                  <c:v>2.9999988000000002</c:v>
                </c:pt>
                <c:pt idx="211">
                  <c:v>0.89843713999999997</c:v>
                </c:pt>
                <c:pt idx="212">
                  <c:v>0.49999981999999998</c:v>
                </c:pt>
                <c:pt idx="213">
                  <c:v>0</c:v>
                </c:pt>
                <c:pt idx="214">
                  <c:v>0</c:v>
                </c:pt>
                <c:pt idx="215">
                  <c:v>0</c:v>
                </c:pt>
                <c:pt idx="216">
                  <c:v>0</c:v>
                </c:pt>
                <c:pt idx="217">
                  <c:v>0</c:v>
                </c:pt>
                <c:pt idx="218">
                  <c:v>0</c:v>
                </c:pt>
                <c:pt idx="219">
                  <c:v>0</c:v>
                </c:pt>
                <c:pt idx="220">
                  <c:v>0</c:v>
                </c:pt>
                <c:pt idx="221">
                  <c:v>0</c:v>
                </c:pt>
                <c:pt idx="222">
                  <c:v>0</c:v>
                </c:pt>
                <c:pt idx="223">
                  <c:v>1.8984368</c:v>
                </c:pt>
                <c:pt idx="224">
                  <c:v>4.1992172999999999</c:v>
                </c:pt>
                <c:pt idx="225">
                  <c:v>7.3984345999999999</c:v>
                </c:pt>
                <c:pt idx="226">
                  <c:v>10.597652</c:v>
                </c:pt>
                <c:pt idx="227">
                  <c:v>13.199214</c:v>
                </c:pt>
                <c:pt idx="228">
                  <c:v>15.097651000000001</c:v>
                </c:pt>
                <c:pt idx="229">
                  <c:v>16.699213</c:v>
                </c:pt>
                <c:pt idx="230">
                  <c:v>18.699210999999998</c:v>
                </c:pt>
                <c:pt idx="231">
                  <c:v>20.296866999999999</c:v>
                </c:pt>
                <c:pt idx="232">
                  <c:v>22.097649000000001</c:v>
                </c:pt>
                <c:pt idx="233">
                  <c:v>23.296865</c:v>
                </c:pt>
                <c:pt idx="234">
                  <c:v>24.796865</c:v>
                </c:pt>
                <c:pt idx="235">
                  <c:v>26.597646999999998</c:v>
                </c:pt>
                <c:pt idx="236">
                  <c:v>28.398426000000001</c:v>
                </c:pt>
                <c:pt idx="237">
                  <c:v>30.199207000000001</c:v>
                </c:pt>
                <c:pt idx="238">
                  <c:v>31.398426000000001</c:v>
                </c:pt>
                <c:pt idx="239">
                  <c:v>31.097645</c:v>
                </c:pt>
                <c:pt idx="240">
                  <c:v>31.097645</c:v>
                </c:pt>
                <c:pt idx="241">
                  <c:v>30.796863999999999</c:v>
                </c:pt>
                <c:pt idx="242">
                  <c:v>30.199207000000001</c:v>
                </c:pt>
                <c:pt idx="243">
                  <c:v>29.597645</c:v>
                </c:pt>
                <c:pt idx="244">
                  <c:v>28.999988999999999</c:v>
                </c:pt>
                <c:pt idx="245">
                  <c:v>28.499988999999999</c:v>
                </c:pt>
                <c:pt idx="246">
                  <c:v>28.199207000000001</c:v>
                </c:pt>
                <c:pt idx="247">
                  <c:v>27.898427999999999</c:v>
                </c:pt>
                <c:pt idx="248">
                  <c:v>28.097645</c:v>
                </c:pt>
                <c:pt idx="249">
                  <c:v>28.699207000000001</c:v>
                </c:pt>
                <c:pt idx="250">
                  <c:v>29.499988999999999</c:v>
                </c:pt>
                <c:pt idx="251">
                  <c:v>30.699207000000001</c:v>
                </c:pt>
                <c:pt idx="252">
                  <c:v>31.796863999999999</c:v>
                </c:pt>
                <c:pt idx="253">
                  <c:v>32.699207000000001</c:v>
                </c:pt>
                <c:pt idx="254">
                  <c:v>33.296863999999999</c:v>
                </c:pt>
                <c:pt idx="255">
                  <c:v>33.999988999999999</c:v>
                </c:pt>
                <c:pt idx="256">
                  <c:v>33.699207000000001</c:v>
                </c:pt>
                <c:pt idx="257">
                  <c:v>32.796863999999999</c:v>
                </c:pt>
                <c:pt idx="258">
                  <c:v>29.398426000000001</c:v>
                </c:pt>
                <c:pt idx="259">
                  <c:v>26.296865</c:v>
                </c:pt>
                <c:pt idx="260">
                  <c:v>23.097646999999998</c:v>
                </c:pt>
                <c:pt idx="261">
                  <c:v>18.699210999999998</c:v>
                </c:pt>
                <c:pt idx="262">
                  <c:v>15.296868999999999</c:v>
                </c:pt>
                <c:pt idx="263">
                  <c:v>10.499995999999999</c:v>
                </c:pt>
                <c:pt idx="264">
                  <c:v>6.8984351000000004</c:v>
                </c:pt>
                <c:pt idx="265">
                  <c:v>3.1992175999999999</c:v>
                </c:pt>
                <c:pt idx="266">
                  <c:v>0.89843713999999997</c:v>
                </c:pt>
                <c:pt idx="267">
                  <c:v>0.49999981999999998</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89843713999999997</c:v>
                </c:pt>
                <c:pt idx="283">
                  <c:v>2.9999988000000002</c:v>
                </c:pt>
                <c:pt idx="284">
                  <c:v>4.6992168000000003</c:v>
                </c:pt>
                <c:pt idx="285">
                  <c:v>6.7968726000000004</c:v>
                </c:pt>
                <c:pt idx="286">
                  <c:v>9.0976523999999994</c:v>
                </c:pt>
                <c:pt idx="287">
                  <c:v>11.296870999999999</c:v>
                </c:pt>
                <c:pt idx="288">
                  <c:v>14.398432</c:v>
                </c:pt>
                <c:pt idx="289">
                  <c:v>16.796869000000001</c:v>
                </c:pt>
                <c:pt idx="290">
                  <c:v>18.097649000000001</c:v>
                </c:pt>
                <c:pt idx="291">
                  <c:v>18.999991999999999</c:v>
                </c:pt>
                <c:pt idx="292">
                  <c:v>19.999991999999999</c:v>
                </c:pt>
                <c:pt idx="293">
                  <c:v>21.199210999999998</c:v>
                </c:pt>
                <c:pt idx="294">
                  <c:v>22.499991999999999</c:v>
                </c:pt>
                <c:pt idx="295">
                  <c:v>23.597646999999998</c:v>
                </c:pt>
                <c:pt idx="296">
                  <c:v>25.199209</c:v>
                </c:pt>
                <c:pt idx="297">
                  <c:v>26.49999</c:v>
                </c:pt>
                <c:pt idx="298">
                  <c:v>28.097645</c:v>
                </c:pt>
                <c:pt idx="299">
                  <c:v>29.699207000000001</c:v>
                </c:pt>
                <c:pt idx="300">
                  <c:v>31.097645</c:v>
                </c:pt>
                <c:pt idx="301">
                  <c:v>30.398426000000001</c:v>
                </c:pt>
                <c:pt idx="302">
                  <c:v>28.898426000000001</c:v>
                </c:pt>
                <c:pt idx="303">
                  <c:v>26.898427999999999</c:v>
                </c:pt>
                <c:pt idx="304">
                  <c:v>24.097646999999998</c:v>
                </c:pt>
                <c:pt idx="305">
                  <c:v>20.499991999999999</c:v>
                </c:pt>
                <c:pt idx="306">
                  <c:v>18.296866999999999</c:v>
                </c:pt>
                <c:pt idx="307">
                  <c:v>16.097650999999999</c:v>
                </c:pt>
                <c:pt idx="308">
                  <c:v>12.699214</c:v>
                </c:pt>
                <c:pt idx="309">
                  <c:v>10.097652</c:v>
                </c:pt>
                <c:pt idx="310">
                  <c:v>8.8984345999999999</c:v>
                </c:pt>
                <c:pt idx="311">
                  <c:v>7.4999970999999999</c:v>
                </c:pt>
                <c:pt idx="312">
                  <c:v>6.8984351000000004</c:v>
                </c:pt>
                <c:pt idx="313">
                  <c:v>6.3984351000000004</c:v>
                </c:pt>
                <c:pt idx="314">
                  <c:v>6.3984351000000004</c:v>
                </c:pt>
                <c:pt idx="315">
                  <c:v>7.1992158999999996</c:v>
                </c:pt>
                <c:pt idx="316">
                  <c:v>9.9999962</c:v>
                </c:pt>
                <c:pt idx="317">
                  <c:v>12.499995</c:v>
                </c:pt>
                <c:pt idx="318">
                  <c:v>13.898433000000001</c:v>
                </c:pt>
                <c:pt idx="319">
                  <c:v>14.796868999999999</c:v>
                </c:pt>
                <c:pt idx="320">
                  <c:v>16.097650999999999</c:v>
                </c:pt>
                <c:pt idx="321">
                  <c:v>17.796869000000001</c:v>
                </c:pt>
                <c:pt idx="322">
                  <c:v>19.597649000000001</c:v>
                </c:pt>
                <c:pt idx="323">
                  <c:v>21.499991999999999</c:v>
                </c:pt>
                <c:pt idx="324">
                  <c:v>24.097646999999998</c:v>
                </c:pt>
                <c:pt idx="325">
                  <c:v>25.597646999999998</c:v>
                </c:pt>
                <c:pt idx="326">
                  <c:v>27.597646999999998</c:v>
                </c:pt>
                <c:pt idx="327">
                  <c:v>29.296863999999999</c:v>
                </c:pt>
                <c:pt idx="328">
                  <c:v>31.199207000000001</c:v>
                </c:pt>
                <c:pt idx="329">
                  <c:v>33.097645</c:v>
                </c:pt>
                <c:pt idx="330">
                  <c:v>34.898426000000001</c:v>
                </c:pt>
                <c:pt idx="331">
                  <c:v>35.999985000000002</c:v>
                </c:pt>
                <c:pt idx="332">
                  <c:v>37.296860000000002</c:v>
                </c:pt>
                <c:pt idx="333">
                  <c:v>38.296860000000002</c:v>
                </c:pt>
                <c:pt idx="334">
                  <c:v>39.398421999999997</c:v>
                </c:pt>
                <c:pt idx="335">
                  <c:v>40.499985000000002</c:v>
                </c:pt>
                <c:pt idx="336">
                  <c:v>41.796860000000002</c:v>
                </c:pt>
                <c:pt idx="337">
                  <c:v>42.898421999999997</c:v>
                </c:pt>
                <c:pt idx="338">
                  <c:v>43.699202999999997</c:v>
                </c:pt>
                <c:pt idx="339">
                  <c:v>42.898421999999997</c:v>
                </c:pt>
                <c:pt idx="340">
                  <c:v>40.898421999999997</c:v>
                </c:pt>
                <c:pt idx="341">
                  <c:v>38.499985000000002</c:v>
                </c:pt>
                <c:pt idx="342">
                  <c:v>35.597645</c:v>
                </c:pt>
                <c:pt idx="343">
                  <c:v>32.499988999999999</c:v>
                </c:pt>
                <c:pt idx="344">
                  <c:v>28.796863999999999</c:v>
                </c:pt>
                <c:pt idx="345">
                  <c:v>25.597646999999998</c:v>
                </c:pt>
                <c:pt idx="346">
                  <c:v>21.999991999999999</c:v>
                </c:pt>
                <c:pt idx="347">
                  <c:v>18.499991999999999</c:v>
                </c:pt>
                <c:pt idx="348">
                  <c:v>15.199213</c:v>
                </c:pt>
                <c:pt idx="349">
                  <c:v>11.097652</c:v>
                </c:pt>
                <c:pt idx="350">
                  <c:v>6.9999976000000004</c:v>
                </c:pt>
                <c:pt idx="351">
                  <c:v>2.2968739999999999</c:v>
                </c:pt>
                <c:pt idx="352">
                  <c:v>0.49999981999999998</c:v>
                </c:pt>
                <c:pt idx="353">
                  <c:v>0.49999981999999998</c:v>
                </c:pt>
                <c:pt idx="354">
                  <c:v>0</c:v>
                </c:pt>
                <c:pt idx="355">
                  <c:v>0</c:v>
                </c:pt>
                <c:pt idx="356">
                  <c:v>0</c:v>
                </c:pt>
                <c:pt idx="357">
                  <c:v>0</c:v>
                </c:pt>
                <c:pt idx="358">
                  <c:v>0</c:v>
                </c:pt>
                <c:pt idx="359">
                  <c:v>0</c:v>
                </c:pt>
                <c:pt idx="360">
                  <c:v>0</c:v>
                </c:pt>
                <c:pt idx="361">
                  <c:v>0</c:v>
                </c:pt>
                <c:pt idx="362">
                  <c:v>0</c:v>
                </c:pt>
                <c:pt idx="363">
                  <c:v>0</c:v>
                </c:pt>
                <c:pt idx="364">
                  <c:v>2.1992180000000001</c:v>
                </c:pt>
                <c:pt idx="365">
                  <c:v>4.8984356</c:v>
                </c:pt>
                <c:pt idx="366">
                  <c:v>7.2968720999999999</c:v>
                </c:pt>
                <c:pt idx="367">
                  <c:v>8.6992159000000004</c:v>
                </c:pt>
                <c:pt idx="368">
                  <c:v>8.9999962</c:v>
                </c:pt>
                <c:pt idx="369">
                  <c:v>8.8984345999999999</c:v>
                </c:pt>
                <c:pt idx="370">
                  <c:v>8.7968720999999999</c:v>
                </c:pt>
                <c:pt idx="371">
                  <c:v>7.8984345999999999</c:v>
                </c:pt>
                <c:pt idx="372">
                  <c:v>7.0976533999999996</c:v>
                </c:pt>
                <c:pt idx="373">
                  <c:v>6.1992164000000001</c:v>
                </c:pt>
                <c:pt idx="374">
                  <c:v>3.9999986000000001</c:v>
                </c:pt>
                <c:pt idx="375">
                  <c:v>3.1992175999999999</c:v>
                </c:pt>
                <c:pt idx="376">
                  <c:v>3.2968738000000002</c:v>
                </c:pt>
                <c:pt idx="377">
                  <c:v>3.0976550999999999</c:v>
                </c:pt>
                <c:pt idx="378">
                  <c:v>3.2968738000000002</c:v>
                </c:pt>
                <c:pt idx="379">
                  <c:v>4.0976547999999999</c:v>
                </c:pt>
                <c:pt idx="380">
                  <c:v>6.6992164000000001</c:v>
                </c:pt>
                <c:pt idx="381">
                  <c:v>9.9999962</c:v>
                </c:pt>
                <c:pt idx="382">
                  <c:v>13.29687</c:v>
                </c:pt>
                <c:pt idx="383">
                  <c:v>16.097650999999999</c:v>
                </c:pt>
                <c:pt idx="384">
                  <c:v>18.097649000000001</c:v>
                </c:pt>
                <c:pt idx="385">
                  <c:v>19.398430000000001</c:v>
                </c:pt>
                <c:pt idx="386">
                  <c:v>20.296866999999999</c:v>
                </c:pt>
                <c:pt idx="387">
                  <c:v>21.796866999999999</c:v>
                </c:pt>
                <c:pt idx="388">
                  <c:v>22.499991999999999</c:v>
                </c:pt>
                <c:pt idx="389">
                  <c:v>24.199209</c:v>
                </c:pt>
                <c:pt idx="390">
                  <c:v>25.49999</c:v>
                </c:pt>
                <c:pt idx="391">
                  <c:v>26.597646999999998</c:v>
                </c:pt>
                <c:pt idx="392">
                  <c:v>27.796865</c:v>
                </c:pt>
                <c:pt idx="393">
                  <c:v>28.999988999999999</c:v>
                </c:pt>
                <c:pt idx="394">
                  <c:v>30.296863999999999</c:v>
                </c:pt>
                <c:pt idx="395">
                  <c:v>31.097645</c:v>
                </c:pt>
                <c:pt idx="396">
                  <c:v>31.597645</c:v>
                </c:pt>
                <c:pt idx="397">
                  <c:v>32.199207000000001</c:v>
                </c:pt>
                <c:pt idx="398">
                  <c:v>32.898426000000001</c:v>
                </c:pt>
                <c:pt idx="399">
                  <c:v>33.296863999999999</c:v>
                </c:pt>
                <c:pt idx="400">
                  <c:v>33.999988999999999</c:v>
                </c:pt>
                <c:pt idx="401">
                  <c:v>34.796863999999999</c:v>
                </c:pt>
                <c:pt idx="402">
                  <c:v>35.898421999999997</c:v>
                </c:pt>
                <c:pt idx="403">
                  <c:v>36.796860000000002</c:v>
                </c:pt>
                <c:pt idx="404">
                  <c:v>37.999985000000002</c:v>
                </c:pt>
                <c:pt idx="405">
                  <c:v>39.097641000000003</c:v>
                </c:pt>
                <c:pt idx="406">
                  <c:v>39.499985000000002</c:v>
                </c:pt>
                <c:pt idx="407">
                  <c:v>38.597641000000003</c:v>
                </c:pt>
                <c:pt idx="408">
                  <c:v>37.296860000000002</c:v>
                </c:pt>
                <c:pt idx="409">
                  <c:v>35.699207000000001</c:v>
                </c:pt>
                <c:pt idx="410">
                  <c:v>34.097645</c:v>
                </c:pt>
                <c:pt idx="411">
                  <c:v>32.398426000000001</c:v>
                </c:pt>
                <c:pt idx="412">
                  <c:v>30.296863999999999</c:v>
                </c:pt>
                <c:pt idx="413">
                  <c:v>28.999988999999999</c:v>
                </c:pt>
                <c:pt idx="414">
                  <c:v>27.398427999999999</c:v>
                </c:pt>
                <c:pt idx="415">
                  <c:v>25.699209</c:v>
                </c:pt>
                <c:pt idx="416">
                  <c:v>24.097646999999998</c:v>
                </c:pt>
                <c:pt idx="417">
                  <c:v>22.398430000000001</c:v>
                </c:pt>
                <c:pt idx="418">
                  <c:v>19.898430000000001</c:v>
                </c:pt>
                <c:pt idx="419">
                  <c:v>18.499991999999999</c:v>
                </c:pt>
                <c:pt idx="420">
                  <c:v>16.296869000000001</c:v>
                </c:pt>
                <c:pt idx="421">
                  <c:v>13.699214</c:v>
                </c:pt>
                <c:pt idx="422">
                  <c:v>11.499995</c:v>
                </c:pt>
                <c:pt idx="423">
                  <c:v>7.9999970999999999</c:v>
                </c:pt>
                <c:pt idx="424">
                  <c:v>3.9999986000000001</c:v>
                </c:pt>
                <c:pt idx="425">
                  <c:v>2.6992178</c:v>
                </c:pt>
                <c:pt idx="426">
                  <c:v>1.1992183000000001</c:v>
                </c:pt>
                <c:pt idx="427">
                  <c:v>0.49999981999999998</c:v>
                </c:pt>
                <c:pt idx="428">
                  <c:v>0.49999981999999998</c:v>
                </c:pt>
                <c:pt idx="429">
                  <c:v>0</c:v>
                </c:pt>
                <c:pt idx="430">
                  <c:v>0</c:v>
                </c:pt>
                <c:pt idx="431">
                  <c:v>1.7968743</c:v>
                </c:pt>
                <c:pt idx="432">
                  <c:v>4.7968731</c:v>
                </c:pt>
                <c:pt idx="433">
                  <c:v>7.9999970999999999</c:v>
                </c:pt>
                <c:pt idx="434">
                  <c:v>10.898434</c:v>
                </c:pt>
                <c:pt idx="435">
                  <c:v>13.79687</c:v>
                </c:pt>
                <c:pt idx="436">
                  <c:v>16.999994000000001</c:v>
                </c:pt>
                <c:pt idx="437">
                  <c:v>18.597649000000001</c:v>
                </c:pt>
                <c:pt idx="438">
                  <c:v>20.199210999999998</c:v>
                </c:pt>
                <c:pt idx="439">
                  <c:v>21.699210999999998</c:v>
                </c:pt>
                <c:pt idx="440">
                  <c:v>22.699210999999998</c:v>
                </c:pt>
                <c:pt idx="441">
                  <c:v>24.097646999999998</c:v>
                </c:pt>
                <c:pt idx="442">
                  <c:v>24.898427999999999</c:v>
                </c:pt>
                <c:pt idx="443">
                  <c:v>26.199209</c:v>
                </c:pt>
                <c:pt idx="444">
                  <c:v>27.597646999999998</c:v>
                </c:pt>
                <c:pt idx="445">
                  <c:v>28.898426000000001</c:v>
                </c:pt>
                <c:pt idx="446">
                  <c:v>29.999988999999999</c:v>
                </c:pt>
                <c:pt idx="447">
                  <c:v>29.796863999999999</c:v>
                </c:pt>
                <c:pt idx="448">
                  <c:v>29.199207000000001</c:v>
                </c:pt>
                <c:pt idx="449">
                  <c:v>27.898427999999999</c:v>
                </c:pt>
                <c:pt idx="450">
                  <c:v>26.097646999999998</c:v>
                </c:pt>
                <c:pt idx="451">
                  <c:v>24.398427999999999</c:v>
                </c:pt>
                <c:pt idx="452">
                  <c:v>22.796866999999999</c:v>
                </c:pt>
                <c:pt idx="453">
                  <c:v>20.796866999999999</c:v>
                </c:pt>
                <c:pt idx="454">
                  <c:v>17.898430000000001</c:v>
                </c:pt>
                <c:pt idx="455">
                  <c:v>14.097651000000001</c:v>
                </c:pt>
                <c:pt idx="456">
                  <c:v>10.296870999999999</c:v>
                </c:pt>
                <c:pt idx="457">
                  <c:v>5.2968731</c:v>
                </c:pt>
                <c:pt idx="458">
                  <c:v>2.0976555000000001</c:v>
                </c:pt>
                <c:pt idx="459">
                  <c:v>0.49999981999999998</c:v>
                </c:pt>
                <c:pt idx="460">
                  <c:v>0.49999981999999998</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2.3984364999999999</c:v>
                </c:pt>
                <c:pt idx="495">
                  <c:v>4.2968735999999996</c:v>
                </c:pt>
                <c:pt idx="496">
                  <c:v>6.2968726000000004</c:v>
                </c:pt>
                <c:pt idx="497">
                  <c:v>8.4999970999999999</c:v>
                </c:pt>
                <c:pt idx="498">
                  <c:v>10.699215000000001</c:v>
                </c:pt>
                <c:pt idx="499">
                  <c:v>12.597651000000001</c:v>
                </c:pt>
                <c:pt idx="500">
                  <c:v>13.699214</c:v>
                </c:pt>
                <c:pt idx="501">
                  <c:v>14.999993999999999</c:v>
                </c:pt>
                <c:pt idx="502">
                  <c:v>16.699213</c:v>
                </c:pt>
                <c:pt idx="503">
                  <c:v>18.097649000000001</c:v>
                </c:pt>
                <c:pt idx="504">
                  <c:v>19.796866999999999</c:v>
                </c:pt>
                <c:pt idx="505">
                  <c:v>21.398430000000001</c:v>
                </c:pt>
                <c:pt idx="506">
                  <c:v>22.499991999999999</c:v>
                </c:pt>
                <c:pt idx="507">
                  <c:v>23.398427999999999</c:v>
                </c:pt>
                <c:pt idx="508">
                  <c:v>24.898427999999999</c:v>
                </c:pt>
                <c:pt idx="509">
                  <c:v>26.49999</c:v>
                </c:pt>
                <c:pt idx="510">
                  <c:v>27.99999</c:v>
                </c:pt>
                <c:pt idx="511">
                  <c:v>29.296863999999999</c:v>
                </c:pt>
                <c:pt idx="512">
                  <c:v>30.296863999999999</c:v>
                </c:pt>
                <c:pt idx="513">
                  <c:v>30.199207000000001</c:v>
                </c:pt>
                <c:pt idx="514">
                  <c:v>29.898426000000001</c:v>
                </c:pt>
                <c:pt idx="515">
                  <c:v>28.597645</c:v>
                </c:pt>
                <c:pt idx="516">
                  <c:v>26.699209</c:v>
                </c:pt>
                <c:pt idx="517">
                  <c:v>25.199209</c:v>
                </c:pt>
                <c:pt idx="518">
                  <c:v>23.597646999999998</c:v>
                </c:pt>
                <c:pt idx="519">
                  <c:v>21.398430000000001</c:v>
                </c:pt>
                <c:pt idx="520">
                  <c:v>19.597649000000001</c:v>
                </c:pt>
                <c:pt idx="521">
                  <c:v>17.499994000000001</c:v>
                </c:pt>
                <c:pt idx="522">
                  <c:v>14.199213</c:v>
                </c:pt>
                <c:pt idx="523">
                  <c:v>10.999995999999999</c:v>
                </c:pt>
                <c:pt idx="524">
                  <c:v>8.3984345999999999</c:v>
                </c:pt>
                <c:pt idx="525">
                  <c:v>4.4999981</c:v>
                </c:pt>
                <c:pt idx="526">
                  <c:v>2.2968739999999999</c:v>
                </c:pt>
                <c:pt idx="527">
                  <c:v>0.89843713999999997</c:v>
                </c:pt>
                <c:pt idx="528">
                  <c:v>0.49999981999999998</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89843713999999997</c:v>
                </c:pt>
                <c:pt idx="549">
                  <c:v>3.2968738000000002</c:v>
                </c:pt>
                <c:pt idx="550">
                  <c:v>6.2968726000000004</c:v>
                </c:pt>
                <c:pt idx="551">
                  <c:v>8.8984345999999999</c:v>
                </c:pt>
                <c:pt idx="552">
                  <c:v>11.999995</c:v>
                </c:pt>
                <c:pt idx="553">
                  <c:v>14.398432</c:v>
                </c:pt>
                <c:pt idx="554">
                  <c:v>16.199213</c:v>
                </c:pt>
                <c:pt idx="555">
                  <c:v>18.199210999999998</c:v>
                </c:pt>
                <c:pt idx="556">
                  <c:v>20.398430000000001</c:v>
                </c:pt>
                <c:pt idx="557">
                  <c:v>22.499991999999999</c:v>
                </c:pt>
                <c:pt idx="558">
                  <c:v>23.49999</c:v>
                </c:pt>
                <c:pt idx="559">
                  <c:v>25.296865</c:v>
                </c:pt>
                <c:pt idx="560">
                  <c:v>26.99999</c:v>
                </c:pt>
                <c:pt idx="561">
                  <c:v>28.597645</c:v>
                </c:pt>
                <c:pt idx="562">
                  <c:v>30.199207000000001</c:v>
                </c:pt>
                <c:pt idx="563">
                  <c:v>31.898426000000001</c:v>
                </c:pt>
                <c:pt idx="564">
                  <c:v>33.199207000000001</c:v>
                </c:pt>
                <c:pt idx="565">
                  <c:v>33.699207000000001</c:v>
                </c:pt>
                <c:pt idx="566">
                  <c:v>34.699207000000001</c:v>
                </c:pt>
                <c:pt idx="567">
                  <c:v>35.499988999999999</c:v>
                </c:pt>
                <c:pt idx="568">
                  <c:v>36.296860000000002</c:v>
                </c:pt>
                <c:pt idx="569">
                  <c:v>37.199202999999997</c:v>
                </c:pt>
                <c:pt idx="570">
                  <c:v>37.499985000000002</c:v>
                </c:pt>
                <c:pt idx="571">
                  <c:v>36.796860000000002</c:v>
                </c:pt>
                <c:pt idx="572">
                  <c:v>35.796860000000002</c:v>
                </c:pt>
                <c:pt idx="573">
                  <c:v>34.296863999999999</c:v>
                </c:pt>
                <c:pt idx="574">
                  <c:v>32.999988999999999</c:v>
                </c:pt>
                <c:pt idx="575">
                  <c:v>32.199207000000001</c:v>
                </c:pt>
                <c:pt idx="576">
                  <c:v>31.097645</c:v>
                </c:pt>
                <c:pt idx="577">
                  <c:v>29.898426000000001</c:v>
                </c:pt>
                <c:pt idx="578">
                  <c:v>29.597645</c:v>
                </c:pt>
                <c:pt idx="579">
                  <c:v>27.898427999999999</c:v>
                </c:pt>
                <c:pt idx="580">
                  <c:v>25.99999</c:v>
                </c:pt>
                <c:pt idx="581">
                  <c:v>24.199209</c:v>
                </c:pt>
                <c:pt idx="582">
                  <c:v>23.296865</c:v>
                </c:pt>
                <c:pt idx="583">
                  <c:v>23.796865</c:v>
                </c:pt>
                <c:pt idx="584">
                  <c:v>24.097646999999998</c:v>
                </c:pt>
                <c:pt idx="585">
                  <c:v>24.49999</c:v>
                </c:pt>
                <c:pt idx="586">
                  <c:v>24.796865</c:v>
                </c:pt>
                <c:pt idx="587">
                  <c:v>25.296865</c:v>
                </c:pt>
                <c:pt idx="588">
                  <c:v>26.296865</c:v>
                </c:pt>
                <c:pt idx="589">
                  <c:v>27.296865</c:v>
                </c:pt>
                <c:pt idx="590">
                  <c:v>27.99999</c:v>
                </c:pt>
                <c:pt idx="591">
                  <c:v>26.99999</c:v>
                </c:pt>
                <c:pt idx="592">
                  <c:v>24.296865</c:v>
                </c:pt>
                <c:pt idx="593">
                  <c:v>20.796866999999999</c:v>
                </c:pt>
                <c:pt idx="594">
                  <c:v>17.199213</c:v>
                </c:pt>
                <c:pt idx="595">
                  <c:v>12.597651000000001</c:v>
                </c:pt>
                <c:pt idx="596">
                  <c:v>7.9999970999999999</c:v>
                </c:pt>
                <c:pt idx="597">
                  <c:v>3.9999986000000001</c:v>
                </c:pt>
                <c:pt idx="598">
                  <c:v>1.0976558999999999</c:v>
                </c:pt>
                <c:pt idx="599">
                  <c:v>0.49999981999999998</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1.0976558999999999</c:v>
                </c:pt>
                <c:pt idx="614">
                  <c:v>4.8984356</c:v>
                </c:pt>
                <c:pt idx="615">
                  <c:v>8.7968720999999999</c:v>
                </c:pt>
                <c:pt idx="616">
                  <c:v>11.597651000000001</c:v>
                </c:pt>
                <c:pt idx="617">
                  <c:v>13.398433000000001</c:v>
                </c:pt>
                <c:pt idx="618">
                  <c:v>15.097651000000001</c:v>
                </c:pt>
                <c:pt idx="619">
                  <c:v>17.199213</c:v>
                </c:pt>
                <c:pt idx="620">
                  <c:v>19.199210999999998</c:v>
                </c:pt>
                <c:pt idx="621">
                  <c:v>21.398430000000001</c:v>
                </c:pt>
                <c:pt idx="622">
                  <c:v>23.097646999999998</c:v>
                </c:pt>
                <c:pt idx="623">
                  <c:v>24.796865</c:v>
                </c:pt>
                <c:pt idx="624">
                  <c:v>26.398427999999999</c:v>
                </c:pt>
                <c:pt idx="625">
                  <c:v>28.296863999999999</c:v>
                </c:pt>
                <c:pt idx="626">
                  <c:v>29.999988999999999</c:v>
                </c:pt>
                <c:pt idx="627">
                  <c:v>30.898426000000001</c:v>
                </c:pt>
                <c:pt idx="628">
                  <c:v>31.097645</c:v>
                </c:pt>
                <c:pt idx="629">
                  <c:v>31.398426000000001</c:v>
                </c:pt>
                <c:pt idx="630">
                  <c:v>31.796863999999999</c:v>
                </c:pt>
                <c:pt idx="631">
                  <c:v>31.796863999999999</c:v>
                </c:pt>
                <c:pt idx="632">
                  <c:v>32.296863999999999</c:v>
                </c:pt>
                <c:pt idx="633">
                  <c:v>33.097645</c:v>
                </c:pt>
                <c:pt idx="634">
                  <c:v>33.199207000000001</c:v>
                </c:pt>
                <c:pt idx="635">
                  <c:v>33.999988999999999</c:v>
                </c:pt>
                <c:pt idx="636">
                  <c:v>34.796863999999999</c:v>
                </c:pt>
                <c:pt idx="637">
                  <c:v>35.499988999999999</c:v>
                </c:pt>
                <c:pt idx="638">
                  <c:v>36.097641000000003</c:v>
                </c:pt>
                <c:pt idx="639">
                  <c:v>37.097641000000003</c:v>
                </c:pt>
                <c:pt idx="640">
                  <c:v>37.699202999999997</c:v>
                </c:pt>
                <c:pt idx="641">
                  <c:v>38.296860000000002</c:v>
                </c:pt>
                <c:pt idx="642">
                  <c:v>38.898421999999997</c:v>
                </c:pt>
                <c:pt idx="643">
                  <c:v>38.796860000000002</c:v>
                </c:pt>
                <c:pt idx="644">
                  <c:v>37.296860000000002</c:v>
                </c:pt>
                <c:pt idx="645">
                  <c:v>35.398426000000001</c:v>
                </c:pt>
                <c:pt idx="646">
                  <c:v>33.097645</c:v>
                </c:pt>
                <c:pt idx="647">
                  <c:v>29.398426000000001</c:v>
                </c:pt>
                <c:pt idx="648">
                  <c:v>26.49999</c:v>
                </c:pt>
                <c:pt idx="649">
                  <c:v>23.597646999999998</c:v>
                </c:pt>
                <c:pt idx="650">
                  <c:v>19.199210999999998</c:v>
                </c:pt>
                <c:pt idx="651">
                  <c:v>15.398432</c:v>
                </c:pt>
                <c:pt idx="652">
                  <c:v>10.898434</c:v>
                </c:pt>
                <c:pt idx="653">
                  <c:v>6.9999976000000004</c:v>
                </c:pt>
                <c:pt idx="654">
                  <c:v>3.0976550999999999</c:v>
                </c:pt>
                <c:pt idx="655">
                  <c:v>0.89843713999999997</c:v>
                </c:pt>
                <c:pt idx="656">
                  <c:v>0.49999981999999998</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1.8984368</c:v>
                </c:pt>
                <c:pt idx="674">
                  <c:v>5.7968726000000004</c:v>
                </c:pt>
                <c:pt idx="675">
                  <c:v>8.6992159000000004</c:v>
                </c:pt>
                <c:pt idx="676">
                  <c:v>11.398434</c:v>
                </c:pt>
                <c:pt idx="677">
                  <c:v>14.398432</c:v>
                </c:pt>
                <c:pt idx="678">
                  <c:v>17.199213</c:v>
                </c:pt>
                <c:pt idx="679">
                  <c:v>19.097649000000001</c:v>
                </c:pt>
                <c:pt idx="680">
                  <c:v>20.699210999999998</c:v>
                </c:pt>
                <c:pt idx="681">
                  <c:v>22.296866999999999</c:v>
                </c:pt>
                <c:pt idx="682">
                  <c:v>23.398427999999999</c:v>
                </c:pt>
                <c:pt idx="683">
                  <c:v>24.597646999999998</c:v>
                </c:pt>
                <c:pt idx="684">
                  <c:v>26.49999</c:v>
                </c:pt>
                <c:pt idx="685">
                  <c:v>27.99999</c:v>
                </c:pt>
                <c:pt idx="686">
                  <c:v>29.898426000000001</c:v>
                </c:pt>
                <c:pt idx="687">
                  <c:v>32.097645</c:v>
                </c:pt>
                <c:pt idx="688">
                  <c:v>34.199207000000001</c:v>
                </c:pt>
                <c:pt idx="689">
                  <c:v>35.898421999999997</c:v>
                </c:pt>
                <c:pt idx="690">
                  <c:v>36.796860000000002</c:v>
                </c:pt>
                <c:pt idx="691">
                  <c:v>38.097641000000003</c:v>
                </c:pt>
                <c:pt idx="692">
                  <c:v>39.296860000000002</c:v>
                </c:pt>
                <c:pt idx="693">
                  <c:v>40.597641000000003</c:v>
                </c:pt>
                <c:pt idx="694">
                  <c:v>41.199202999999997</c:v>
                </c:pt>
                <c:pt idx="695">
                  <c:v>39.999985000000002</c:v>
                </c:pt>
                <c:pt idx="696">
                  <c:v>37.699202999999997</c:v>
                </c:pt>
                <c:pt idx="697">
                  <c:v>34.796863999999999</c:v>
                </c:pt>
                <c:pt idx="698">
                  <c:v>30.097645</c:v>
                </c:pt>
                <c:pt idx="699">
                  <c:v>26.199209</c:v>
                </c:pt>
                <c:pt idx="700">
                  <c:v>21.199210999999998</c:v>
                </c:pt>
                <c:pt idx="701">
                  <c:v>16.898432</c:v>
                </c:pt>
                <c:pt idx="702">
                  <c:v>12.097651000000001</c:v>
                </c:pt>
                <c:pt idx="703">
                  <c:v>6.9999976000000004</c:v>
                </c:pt>
                <c:pt idx="704">
                  <c:v>2.5976553</c:v>
                </c:pt>
                <c:pt idx="705">
                  <c:v>0.79687470000000005</c:v>
                </c:pt>
                <c:pt idx="706">
                  <c:v>0.49999981999999998</c:v>
                </c:pt>
                <c:pt idx="707">
                  <c:v>0</c:v>
                </c:pt>
                <c:pt idx="708">
                  <c:v>0</c:v>
                </c:pt>
                <c:pt idx="709">
                  <c:v>0</c:v>
                </c:pt>
                <c:pt idx="710">
                  <c:v>0</c:v>
                </c:pt>
                <c:pt idx="711">
                  <c:v>0</c:v>
                </c:pt>
                <c:pt idx="712">
                  <c:v>1.8984368</c:v>
                </c:pt>
                <c:pt idx="713">
                  <c:v>4.3984360999999996</c:v>
                </c:pt>
                <c:pt idx="714">
                  <c:v>7.4999970999999999</c:v>
                </c:pt>
                <c:pt idx="715">
                  <c:v>10.499995999999999</c:v>
                </c:pt>
                <c:pt idx="716">
                  <c:v>14.097651000000001</c:v>
                </c:pt>
                <c:pt idx="717">
                  <c:v>18.097649000000001</c:v>
                </c:pt>
                <c:pt idx="718">
                  <c:v>21.398430000000001</c:v>
                </c:pt>
                <c:pt idx="719">
                  <c:v>23.398427999999999</c:v>
                </c:pt>
                <c:pt idx="720">
                  <c:v>25.199209</c:v>
                </c:pt>
                <c:pt idx="721">
                  <c:v>27.296865</c:v>
                </c:pt>
                <c:pt idx="722">
                  <c:v>28.796863999999999</c:v>
                </c:pt>
                <c:pt idx="723">
                  <c:v>30.699207000000001</c:v>
                </c:pt>
                <c:pt idx="724">
                  <c:v>32.199207000000001</c:v>
                </c:pt>
                <c:pt idx="725">
                  <c:v>33.597645</c:v>
                </c:pt>
                <c:pt idx="726">
                  <c:v>34.499988999999999</c:v>
                </c:pt>
                <c:pt idx="727">
                  <c:v>35.597645</c:v>
                </c:pt>
                <c:pt idx="728">
                  <c:v>36.898421999999997</c:v>
                </c:pt>
                <c:pt idx="729">
                  <c:v>38.199202999999997</c:v>
                </c:pt>
                <c:pt idx="730">
                  <c:v>39.499985000000002</c:v>
                </c:pt>
                <c:pt idx="731">
                  <c:v>40.898421999999997</c:v>
                </c:pt>
                <c:pt idx="732">
                  <c:v>42.199202999999997</c:v>
                </c:pt>
                <c:pt idx="733">
                  <c:v>43.296860000000002</c:v>
                </c:pt>
                <c:pt idx="734">
                  <c:v>44.097641000000003</c:v>
                </c:pt>
                <c:pt idx="735">
                  <c:v>44.499985000000002</c:v>
                </c:pt>
                <c:pt idx="736">
                  <c:v>44.398421999999997</c:v>
                </c:pt>
                <c:pt idx="737">
                  <c:v>43.296860000000002</c:v>
                </c:pt>
                <c:pt idx="738">
                  <c:v>41.499985000000002</c:v>
                </c:pt>
                <c:pt idx="739">
                  <c:v>39.898421999999997</c:v>
                </c:pt>
                <c:pt idx="740">
                  <c:v>37.296860000000002</c:v>
                </c:pt>
                <c:pt idx="741">
                  <c:v>33.898426000000001</c:v>
                </c:pt>
                <c:pt idx="742">
                  <c:v>29.499988999999999</c:v>
                </c:pt>
                <c:pt idx="743">
                  <c:v>25.898427999999999</c:v>
                </c:pt>
                <c:pt idx="744">
                  <c:v>22.597649000000001</c:v>
                </c:pt>
                <c:pt idx="745">
                  <c:v>18.398430000000001</c:v>
                </c:pt>
                <c:pt idx="746">
                  <c:v>14.999993999999999</c:v>
                </c:pt>
                <c:pt idx="747">
                  <c:v>11.398434</c:v>
                </c:pt>
                <c:pt idx="748">
                  <c:v>7.8984345999999999</c:v>
                </c:pt>
                <c:pt idx="749">
                  <c:v>3.5976547999999999</c:v>
                </c:pt>
                <c:pt idx="750">
                  <c:v>0.79687470000000005</c:v>
                </c:pt>
                <c:pt idx="751">
                  <c:v>0.49999981999999998</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2.8984363000000002</c:v>
                </c:pt>
                <c:pt idx="772">
                  <c:v>5.3984356</c:v>
                </c:pt>
                <c:pt idx="773">
                  <c:v>7.9999970999999999</c:v>
                </c:pt>
                <c:pt idx="774">
                  <c:v>10.499995999999999</c:v>
                </c:pt>
                <c:pt idx="775">
                  <c:v>12.699214</c:v>
                </c:pt>
                <c:pt idx="776">
                  <c:v>14.699213</c:v>
                </c:pt>
                <c:pt idx="777">
                  <c:v>17.296869000000001</c:v>
                </c:pt>
                <c:pt idx="778">
                  <c:v>19.499991999999999</c:v>
                </c:pt>
                <c:pt idx="779">
                  <c:v>21.097649000000001</c:v>
                </c:pt>
                <c:pt idx="780">
                  <c:v>21.999991999999999</c:v>
                </c:pt>
                <c:pt idx="781">
                  <c:v>23.199209</c:v>
                </c:pt>
                <c:pt idx="782">
                  <c:v>24.699209</c:v>
                </c:pt>
                <c:pt idx="783">
                  <c:v>25.99999</c:v>
                </c:pt>
                <c:pt idx="784">
                  <c:v>27.597646999999998</c:v>
                </c:pt>
                <c:pt idx="785">
                  <c:v>29.296863999999999</c:v>
                </c:pt>
                <c:pt idx="786">
                  <c:v>31.398426000000001</c:v>
                </c:pt>
                <c:pt idx="787">
                  <c:v>33.796863999999999</c:v>
                </c:pt>
                <c:pt idx="788">
                  <c:v>35.199207000000001</c:v>
                </c:pt>
                <c:pt idx="789">
                  <c:v>36.597641000000003</c:v>
                </c:pt>
                <c:pt idx="790">
                  <c:v>37.699202999999997</c:v>
                </c:pt>
                <c:pt idx="791">
                  <c:v>39.097641000000003</c:v>
                </c:pt>
                <c:pt idx="792">
                  <c:v>40.398421999999997</c:v>
                </c:pt>
                <c:pt idx="793">
                  <c:v>41.898421999999997</c:v>
                </c:pt>
                <c:pt idx="794">
                  <c:v>43.199202999999997</c:v>
                </c:pt>
                <c:pt idx="795">
                  <c:v>44.597641000000003</c:v>
                </c:pt>
                <c:pt idx="796">
                  <c:v>45.898421999999997</c:v>
                </c:pt>
                <c:pt idx="797">
                  <c:v>47.296855999999998</c:v>
                </c:pt>
                <c:pt idx="798">
                  <c:v>47.898417999999999</c:v>
                </c:pt>
                <c:pt idx="799">
                  <c:v>48.898417999999999</c:v>
                </c:pt>
                <c:pt idx="800">
                  <c:v>48.499980999999998</c:v>
                </c:pt>
                <c:pt idx="801">
                  <c:v>47.796855999999998</c:v>
                </c:pt>
                <c:pt idx="802">
                  <c:v>46.398417999999999</c:v>
                </c:pt>
                <c:pt idx="803">
                  <c:v>44.898421999999997</c:v>
                </c:pt>
                <c:pt idx="804">
                  <c:v>43.398421999999997</c:v>
                </c:pt>
                <c:pt idx="805">
                  <c:v>41.699202999999997</c:v>
                </c:pt>
                <c:pt idx="806">
                  <c:v>39.699202999999997</c:v>
                </c:pt>
                <c:pt idx="807">
                  <c:v>37.097641000000003</c:v>
                </c:pt>
                <c:pt idx="808">
                  <c:v>33.597645</c:v>
                </c:pt>
                <c:pt idx="809">
                  <c:v>29.699207000000001</c:v>
                </c:pt>
                <c:pt idx="810">
                  <c:v>26.99999</c:v>
                </c:pt>
                <c:pt idx="811">
                  <c:v>23.898427999999999</c:v>
                </c:pt>
                <c:pt idx="812">
                  <c:v>19.398430000000001</c:v>
                </c:pt>
                <c:pt idx="813">
                  <c:v>15.597651000000001</c:v>
                </c:pt>
                <c:pt idx="814">
                  <c:v>10.796870999999999</c:v>
                </c:pt>
                <c:pt idx="815">
                  <c:v>4.7968731</c:v>
                </c:pt>
                <c:pt idx="816">
                  <c:v>3.1992175999999999</c:v>
                </c:pt>
                <c:pt idx="817">
                  <c:v>0.79687470000000005</c:v>
                </c:pt>
                <c:pt idx="818">
                  <c:v>0.49999981999999998</c:v>
                </c:pt>
                <c:pt idx="819">
                  <c:v>0</c:v>
                </c:pt>
                <c:pt idx="820">
                  <c:v>0</c:v>
                </c:pt>
                <c:pt idx="821">
                  <c:v>0</c:v>
                </c:pt>
                <c:pt idx="822">
                  <c:v>0</c:v>
                </c:pt>
                <c:pt idx="823">
                  <c:v>0</c:v>
                </c:pt>
                <c:pt idx="824">
                  <c:v>0</c:v>
                </c:pt>
                <c:pt idx="825">
                  <c:v>2.0976555000000001</c:v>
                </c:pt>
                <c:pt idx="826">
                  <c:v>4.1992172999999999</c:v>
                </c:pt>
                <c:pt idx="827">
                  <c:v>6.7968726000000004</c:v>
                </c:pt>
                <c:pt idx="828">
                  <c:v>9.6992148999999994</c:v>
                </c:pt>
                <c:pt idx="829">
                  <c:v>12.79687</c:v>
                </c:pt>
                <c:pt idx="830">
                  <c:v>15.796868999999999</c:v>
                </c:pt>
                <c:pt idx="831">
                  <c:v>17.999991999999999</c:v>
                </c:pt>
                <c:pt idx="832">
                  <c:v>17.499994000000001</c:v>
                </c:pt>
                <c:pt idx="833">
                  <c:v>15.398432</c:v>
                </c:pt>
                <c:pt idx="834">
                  <c:v>14.296868999999999</c:v>
                </c:pt>
                <c:pt idx="835">
                  <c:v>13.999995</c:v>
                </c:pt>
                <c:pt idx="836">
                  <c:v>15.398432</c:v>
                </c:pt>
                <c:pt idx="837">
                  <c:v>16.999994000000001</c:v>
                </c:pt>
                <c:pt idx="838">
                  <c:v>18.199210999999998</c:v>
                </c:pt>
                <c:pt idx="839">
                  <c:v>19.699210999999998</c:v>
                </c:pt>
                <c:pt idx="840">
                  <c:v>21.398430000000001</c:v>
                </c:pt>
                <c:pt idx="841">
                  <c:v>23.597646999999998</c:v>
                </c:pt>
                <c:pt idx="842">
                  <c:v>25.296865</c:v>
                </c:pt>
                <c:pt idx="843">
                  <c:v>26.597646999999998</c:v>
                </c:pt>
                <c:pt idx="844">
                  <c:v>28.499988999999999</c:v>
                </c:pt>
                <c:pt idx="845">
                  <c:v>30.296863999999999</c:v>
                </c:pt>
                <c:pt idx="846">
                  <c:v>31.999988999999999</c:v>
                </c:pt>
                <c:pt idx="847">
                  <c:v>32.597645</c:v>
                </c:pt>
                <c:pt idx="848">
                  <c:v>33.499988999999999</c:v>
                </c:pt>
                <c:pt idx="849">
                  <c:v>34.699207000000001</c:v>
                </c:pt>
                <c:pt idx="850">
                  <c:v>35.398426000000001</c:v>
                </c:pt>
                <c:pt idx="851">
                  <c:v>36.699202999999997</c:v>
                </c:pt>
                <c:pt idx="852">
                  <c:v>37.796860000000002</c:v>
                </c:pt>
                <c:pt idx="853">
                  <c:v>38.999985000000002</c:v>
                </c:pt>
                <c:pt idx="854">
                  <c:v>40.097641000000003</c:v>
                </c:pt>
                <c:pt idx="855">
                  <c:v>41.296860000000002</c:v>
                </c:pt>
                <c:pt idx="856">
                  <c:v>42.398421999999997</c:v>
                </c:pt>
                <c:pt idx="857">
                  <c:v>43.499985000000002</c:v>
                </c:pt>
                <c:pt idx="858">
                  <c:v>44.597641000000003</c:v>
                </c:pt>
                <c:pt idx="859">
                  <c:v>45.699202999999997</c:v>
                </c:pt>
                <c:pt idx="860">
                  <c:v>46.898417999999999</c:v>
                </c:pt>
                <c:pt idx="861">
                  <c:v>47.097636999999999</c:v>
                </c:pt>
                <c:pt idx="862">
                  <c:v>47.499980999999998</c:v>
                </c:pt>
                <c:pt idx="863">
                  <c:v>47.398417999999999</c:v>
                </c:pt>
                <c:pt idx="864">
                  <c:v>46.398417999999999</c:v>
                </c:pt>
                <c:pt idx="865">
                  <c:v>45.999980999999998</c:v>
                </c:pt>
                <c:pt idx="866">
                  <c:v>44.296860000000002</c:v>
                </c:pt>
                <c:pt idx="867">
                  <c:v>42.597641000000003</c:v>
                </c:pt>
                <c:pt idx="868">
                  <c:v>40.999985000000002</c:v>
                </c:pt>
                <c:pt idx="869">
                  <c:v>38.398421999999997</c:v>
                </c:pt>
                <c:pt idx="870">
                  <c:v>35.398426000000001</c:v>
                </c:pt>
                <c:pt idx="871">
                  <c:v>31.499988999999999</c:v>
                </c:pt>
                <c:pt idx="872">
                  <c:v>26.99999</c:v>
                </c:pt>
                <c:pt idx="873">
                  <c:v>23.398427999999999</c:v>
                </c:pt>
                <c:pt idx="874">
                  <c:v>18.699210999999998</c:v>
                </c:pt>
                <c:pt idx="875">
                  <c:v>13.597651000000001</c:v>
                </c:pt>
                <c:pt idx="876">
                  <c:v>8.7968720999999999</c:v>
                </c:pt>
                <c:pt idx="877">
                  <c:v>3.5976547999999999</c:v>
                </c:pt>
                <c:pt idx="878">
                  <c:v>1.2968744999999999</c:v>
                </c:pt>
                <c:pt idx="879">
                  <c:v>0.49999981999999998</c:v>
                </c:pt>
                <c:pt idx="880">
                  <c:v>0</c:v>
                </c:pt>
                <c:pt idx="881">
                  <c:v>0</c:v>
                </c:pt>
                <c:pt idx="882">
                  <c:v>0</c:v>
                </c:pt>
                <c:pt idx="883">
                  <c:v>0</c:v>
                </c:pt>
                <c:pt idx="884">
                  <c:v>0</c:v>
                </c:pt>
                <c:pt idx="885">
                  <c:v>0</c:v>
                </c:pt>
                <c:pt idx="886">
                  <c:v>1.5976557</c:v>
                </c:pt>
                <c:pt idx="887">
                  <c:v>3.4999988000000002</c:v>
                </c:pt>
                <c:pt idx="888">
                  <c:v>5.9999976000000004</c:v>
                </c:pt>
                <c:pt idx="889">
                  <c:v>8.4999970999999999</c:v>
                </c:pt>
                <c:pt idx="890">
                  <c:v>10.898434</c:v>
                </c:pt>
                <c:pt idx="891">
                  <c:v>14.199213</c:v>
                </c:pt>
                <c:pt idx="892">
                  <c:v>17.499994000000001</c:v>
                </c:pt>
                <c:pt idx="893">
                  <c:v>20.597649000000001</c:v>
                </c:pt>
                <c:pt idx="894">
                  <c:v>22.097649000000001</c:v>
                </c:pt>
                <c:pt idx="895">
                  <c:v>23.296865</c:v>
                </c:pt>
                <c:pt idx="896">
                  <c:v>24.699209</c:v>
                </c:pt>
                <c:pt idx="897">
                  <c:v>25.597646999999998</c:v>
                </c:pt>
                <c:pt idx="898">
                  <c:v>27.199209</c:v>
                </c:pt>
                <c:pt idx="899">
                  <c:v>28.796863999999999</c:v>
                </c:pt>
                <c:pt idx="900">
                  <c:v>30.597645</c:v>
                </c:pt>
                <c:pt idx="901">
                  <c:v>32.796863999999999</c:v>
                </c:pt>
                <c:pt idx="902">
                  <c:v>34.796863999999999</c:v>
                </c:pt>
                <c:pt idx="903">
                  <c:v>36.097641000000003</c:v>
                </c:pt>
                <c:pt idx="904">
                  <c:v>36.999985000000002</c:v>
                </c:pt>
                <c:pt idx="905">
                  <c:v>38.097641000000003</c:v>
                </c:pt>
                <c:pt idx="906">
                  <c:v>38.699202999999997</c:v>
                </c:pt>
                <c:pt idx="907">
                  <c:v>38.898421999999997</c:v>
                </c:pt>
                <c:pt idx="908">
                  <c:v>38.999985000000002</c:v>
                </c:pt>
                <c:pt idx="909">
                  <c:v>38.898421999999997</c:v>
                </c:pt>
                <c:pt idx="910">
                  <c:v>38.398421999999997</c:v>
                </c:pt>
                <c:pt idx="911">
                  <c:v>37.097641000000003</c:v>
                </c:pt>
                <c:pt idx="912">
                  <c:v>35.296863999999999</c:v>
                </c:pt>
                <c:pt idx="913">
                  <c:v>33.699207000000001</c:v>
                </c:pt>
                <c:pt idx="914">
                  <c:v>32.199207000000001</c:v>
                </c:pt>
                <c:pt idx="915">
                  <c:v>30.097645</c:v>
                </c:pt>
                <c:pt idx="916">
                  <c:v>27.898427999999999</c:v>
                </c:pt>
                <c:pt idx="917">
                  <c:v>24.898427999999999</c:v>
                </c:pt>
                <c:pt idx="918">
                  <c:v>21.398430000000001</c:v>
                </c:pt>
                <c:pt idx="919">
                  <c:v>18.898430000000001</c:v>
                </c:pt>
                <c:pt idx="920">
                  <c:v>17.499994000000001</c:v>
                </c:pt>
                <c:pt idx="921">
                  <c:v>15.499993999999999</c:v>
                </c:pt>
                <c:pt idx="922">
                  <c:v>13.597651000000001</c:v>
                </c:pt>
                <c:pt idx="923">
                  <c:v>11.999995</c:v>
                </c:pt>
                <c:pt idx="924">
                  <c:v>11.097652</c:v>
                </c:pt>
                <c:pt idx="925">
                  <c:v>10.296870999999999</c:v>
                </c:pt>
                <c:pt idx="926">
                  <c:v>9.7968712</c:v>
                </c:pt>
                <c:pt idx="927">
                  <c:v>9.1992148999999994</c:v>
                </c:pt>
                <c:pt idx="928">
                  <c:v>8.5976534000000004</c:v>
                </c:pt>
                <c:pt idx="929">
                  <c:v>7.8984345999999999</c:v>
                </c:pt>
                <c:pt idx="930">
                  <c:v>5.8984351000000004</c:v>
                </c:pt>
                <c:pt idx="931">
                  <c:v>2.9999988000000002</c:v>
                </c:pt>
                <c:pt idx="932">
                  <c:v>1.2968744999999999</c:v>
                </c:pt>
                <c:pt idx="933">
                  <c:v>0.49999981999999998</c:v>
                </c:pt>
                <c:pt idx="934">
                  <c:v>0</c:v>
                </c:pt>
                <c:pt idx="935">
                  <c:v>0</c:v>
                </c:pt>
                <c:pt idx="936">
                  <c:v>0</c:v>
                </c:pt>
                <c:pt idx="937">
                  <c:v>0</c:v>
                </c:pt>
                <c:pt idx="938">
                  <c:v>1.1992183000000001</c:v>
                </c:pt>
                <c:pt idx="939">
                  <c:v>2.6992178</c:v>
                </c:pt>
                <c:pt idx="940">
                  <c:v>3.7968736000000001</c:v>
                </c:pt>
                <c:pt idx="941">
                  <c:v>5.8984351000000004</c:v>
                </c:pt>
                <c:pt idx="942">
                  <c:v>8.0976534000000004</c:v>
                </c:pt>
                <c:pt idx="943">
                  <c:v>10.199215000000001</c:v>
                </c:pt>
                <c:pt idx="944">
                  <c:v>12.398433000000001</c:v>
                </c:pt>
                <c:pt idx="945">
                  <c:v>14.296868999999999</c:v>
                </c:pt>
                <c:pt idx="946">
                  <c:v>16.296869000000001</c:v>
                </c:pt>
                <c:pt idx="947">
                  <c:v>18.499991999999999</c:v>
                </c:pt>
                <c:pt idx="948">
                  <c:v>19.699210999999998</c:v>
                </c:pt>
                <c:pt idx="949">
                  <c:v>20.699210999999998</c:v>
                </c:pt>
                <c:pt idx="950">
                  <c:v>21.097649000000001</c:v>
                </c:pt>
                <c:pt idx="951">
                  <c:v>21.597649000000001</c:v>
                </c:pt>
                <c:pt idx="952">
                  <c:v>21.999991999999999</c:v>
                </c:pt>
                <c:pt idx="953">
                  <c:v>22.097649000000001</c:v>
                </c:pt>
                <c:pt idx="954">
                  <c:v>22.097649000000001</c:v>
                </c:pt>
                <c:pt idx="955">
                  <c:v>22.499991999999999</c:v>
                </c:pt>
                <c:pt idx="956">
                  <c:v>22.898430000000001</c:v>
                </c:pt>
                <c:pt idx="957">
                  <c:v>23.597646999999998</c:v>
                </c:pt>
                <c:pt idx="958">
                  <c:v>24.097646999999998</c:v>
                </c:pt>
                <c:pt idx="959">
                  <c:v>24.796865</c:v>
                </c:pt>
                <c:pt idx="960">
                  <c:v>25.898427999999999</c:v>
                </c:pt>
                <c:pt idx="961">
                  <c:v>26.796865</c:v>
                </c:pt>
                <c:pt idx="962">
                  <c:v>27.597646999999998</c:v>
                </c:pt>
                <c:pt idx="963">
                  <c:v>28.499988999999999</c:v>
                </c:pt>
                <c:pt idx="964">
                  <c:v>29.499988999999999</c:v>
                </c:pt>
                <c:pt idx="965">
                  <c:v>30.398426000000001</c:v>
                </c:pt>
                <c:pt idx="966">
                  <c:v>31.296863999999999</c:v>
                </c:pt>
                <c:pt idx="967">
                  <c:v>31.898426000000001</c:v>
                </c:pt>
                <c:pt idx="968">
                  <c:v>32.398426000000001</c:v>
                </c:pt>
                <c:pt idx="969">
                  <c:v>33.199207000000001</c:v>
                </c:pt>
                <c:pt idx="970">
                  <c:v>33.199207000000001</c:v>
                </c:pt>
                <c:pt idx="971">
                  <c:v>34.199207000000001</c:v>
                </c:pt>
                <c:pt idx="972">
                  <c:v>34.796863999999999</c:v>
                </c:pt>
                <c:pt idx="973">
                  <c:v>35.898421999999997</c:v>
                </c:pt>
                <c:pt idx="974">
                  <c:v>36.597641000000003</c:v>
                </c:pt>
                <c:pt idx="975">
                  <c:v>37.296860000000002</c:v>
                </c:pt>
                <c:pt idx="976">
                  <c:v>37.499985000000002</c:v>
                </c:pt>
                <c:pt idx="977">
                  <c:v>37.199202999999997</c:v>
                </c:pt>
                <c:pt idx="978">
                  <c:v>35.796860000000002</c:v>
                </c:pt>
                <c:pt idx="979">
                  <c:v>33.499988999999999</c:v>
                </c:pt>
                <c:pt idx="980">
                  <c:v>29.597645</c:v>
                </c:pt>
                <c:pt idx="981">
                  <c:v>24.99999</c:v>
                </c:pt>
                <c:pt idx="982">
                  <c:v>19.097649000000001</c:v>
                </c:pt>
                <c:pt idx="983">
                  <c:v>17.398432</c:v>
                </c:pt>
                <c:pt idx="984">
                  <c:v>16.597650999999999</c:v>
                </c:pt>
                <c:pt idx="985">
                  <c:v>18.097649000000001</c:v>
                </c:pt>
                <c:pt idx="986">
                  <c:v>19.898430000000001</c:v>
                </c:pt>
                <c:pt idx="987">
                  <c:v>20.699210999999998</c:v>
                </c:pt>
                <c:pt idx="988">
                  <c:v>20.199210999999998</c:v>
                </c:pt>
                <c:pt idx="989">
                  <c:v>20.199210999999998</c:v>
                </c:pt>
                <c:pt idx="990">
                  <c:v>19.898430000000001</c:v>
                </c:pt>
                <c:pt idx="991">
                  <c:v>19.597649000000001</c:v>
                </c:pt>
                <c:pt idx="992">
                  <c:v>18.796866999999999</c:v>
                </c:pt>
                <c:pt idx="993">
                  <c:v>17.699213</c:v>
                </c:pt>
                <c:pt idx="994">
                  <c:v>17.296869000000001</c:v>
                </c:pt>
                <c:pt idx="995">
                  <c:v>17.499994000000001</c:v>
                </c:pt>
                <c:pt idx="996">
                  <c:v>18.199210999999998</c:v>
                </c:pt>
                <c:pt idx="997">
                  <c:v>19.499991999999999</c:v>
                </c:pt>
                <c:pt idx="998">
                  <c:v>20.999991999999999</c:v>
                </c:pt>
                <c:pt idx="999">
                  <c:v>22.499991999999999</c:v>
                </c:pt>
                <c:pt idx="1000">
                  <c:v>23.699209</c:v>
                </c:pt>
                <c:pt idx="1001">
                  <c:v>25.597646999999998</c:v>
                </c:pt>
                <c:pt idx="1002">
                  <c:v>27.296865</c:v>
                </c:pt>
                <c:pt idx="1003">
                  <c:v>29.199207000000001</c:v>
                </c:pt>
                <c:pt idx="1004">
                  <c:v>30.499988999999999</c:v>
                </c:pt>
                <c:pt idx="1005">
                  <c:v>29.199207000000001</c:v>
                </c:pt>
                <c:pt idx="1006">
                  <c:v>26.097646999999998</c:v>
                </c:pt>
                <c:pt idx="1007">
                  <c:v>22.398430000000001</c:v>
                </c:pt>
                <c:pt idx="1008">
                  <c:v>17.296869000000001</c:v>
                </c:pt>
                <c:pt idx="1009">
                  <c:v>13.199214</c:v>
                </c:pt>
                <c:pt idx="1010">
                  <c:v>8.0976534000000004</c:v>
                </c:pt>
                <c:pt idx="1011">
                  <c:v>4.4999981</c:v>
                </c:pt>
                <c:pt idx="1012">
                  <c:v>1.8984368</c:v>
                </c:pt>
                <c:pt idx="1013">
                  <c:v>0.89843713999999997</c:v>
                </c:pt>
                <c:pt idx="1014">
                  <c:v>0.49999981999999998</c:v>
                </c:pt>
                <c:pt idx="1015">
                  <c:v>0</c:v>
                </c:pt>
                <c:pt idx="1016">
                  <c:v>0</c:v>
                </c:pt>
                <c:pt idx="1017">
                  <c:v>0</c:v>
                </c:pt>
                <c:pt idx="1018">
                  <c:v>0</c:v>
                </c:pt>
                <c:pt idx="1019">
                  <c:v>0</c:v>
                </c:pt>
                <c:pt idx="1020">
                  <c:v>0</c:v>
                </c:pt>
                <c:pt idx="1021">
                  <c:v>0</c:v>
                </c:pt>
                <c:pt idx="1022">
                  <c:v>0</c:v>
                </c:pt>
                <c:pt idx="1023">
                  <c:v>0</c:v>
                </c:pt>
                <c:pt idx="1024">
                  <c:v>0.89843713999999997</c:v>
                </c:pt>
                <c:pt idx="1025">
                  <c:v>3.0976550999999999</c:v>
                </c:pt>
                <c:pt idx="1026">
                  <c:v>5.5976543000000003</c:v>
                </c:pt>
                <c:pt idx="1027">
                  <c:v>7.9999970999999999</c:v>
                </c:pt>
                <c:pt idx="1028">
                  <c:v>11.097652</c:v>
                </c:pt>
                <c:pt idx="1029">
                  <c:v>14.097651000000001</c:v>
                </c:pt>
                <c:pt idx="1030">
                  <c:v>16.499994000000001</c:v>
                </c:pt>
                <c:pt idx="1031">
                  <c:v>17.898430000000001</c:v>
                </c:pt>
                <c:pt idx="1032">
                  <c:v>19.597649000000001</c:v>
                </c:pt>
                <c:pt idx="1033">
                  <c:v>21.398430000000001</c:v>
                </c:pt>
                <c:pt idx="1034">
                  <c:v>22.699210999999998</c:v>
                </c:pt>
                <c:pt idx="1035">
                  <c:v>24.097646999999998</c:v>
                </c:pt>
                <c:pt idx="1036">
                  <c:v>25.898427999999999</c:v>
                </c:pt>
                <c:pt idx="1037">
                  <c:v>27.99999</c:v>
                </c:pt>
                <c:pt idx="1038">
                  <c:v>29.699207000000001</c:v>
                </c:pt>
                <c:pt idx="1039">
                  <c:v>30.999988999999999</c:v>
                </c:pt>
                <c:pt idx="1040">
                  <c:v>32.398426000000001</c:v>
                </c:pt>
                <c:pt idx="1041">
                  <c:v>33.597645</c:v>
                </c:pt>
                <c:pt idx="1042">
                  <c:v>34.199207000000001</c:v>
                </c:pt>
                <c:pt idx="1043">
                  <c:v>34.699207000000001</c:v>
                </c:pt>
                <c:pt idx="1044">
                  <c:v>34.699207000000001</c:v>
                </c:pt>
                <c:pt idx="1045">
                  <c:v>34.296863999999999</c:v>
                </c:pt>
                <c:pt idx="1046">
                  <c:v>34.398426000000001</c:v>
                </c:pt>
                <c:pt idx="1047">
                  <c:v>34.199207000000001</c:v>
                </c:pt>
                <c:pt idx="1048">
                  <c:v>34.796863999999999</c:v>
                </c:pt>
                <c:pt idx="1049">
                  <c:v>34.898426000000001</c:v>
                </c:pt>
                <c:pt idx="1050">
                  <c:v>35.699207000000001</c:v>
                </c:pt>
                <c:pt idx="1051">
                  <c:v>36.199202999999997</c:v>
                </c:pt>
                <c:pt idx="1052">
                  <c:v>36.898421999999997</c:v>
                </c:pt>
                <c:pt idx="1053">
                  <c:v>37.597641000000003</c:v>
                </c:pt>
                <c:pt idx="1054">
                  <c:v>38.296860000000002</c:v>
                </c:pt>
                <c:pt idx="1055">
                  <c:v>38.999985000000002</c:v>
                </c:pt>
                <c:pt idx="1056">
                  <c:v>39.999985000000002</c:v>
                </c:pt>
                <c:pt idx="1057">
                  <c:v>41.097641000000003</c:v>
                </c:pt>
                <c:pt idx="1058">
                  <c:v>41.898421999999997</c:v>
                </c:pt>
                <c:pt idx="1059">
                  <c:v>42.796860000000002</c:v>
                </c:pt>
                <c:pt idx="1060">
                  <c:v>43.499985000000002</c:v>
                </c:pt>
                <c:pt idx="1061">
                  <c:v>44.296860000000002</c:v>
                </c:pt>
                <c:pt idx="1062">
                  <c:v>45.097641000000003</c:v>
                </c:pt>
                <c:pt idx="1063">
                  <c:v>45.499985000000002</c:v>
                </c:pt>
                <c:pt idx="1064">
                  <c:v>45.597641000000003</c:v>
                </c:pt>
                <c:pt idx="1065">
                  <c:v>45.097641000000003</c:v>
                </c:pt>
                <c:pt idx="1066">
                  <c:v>44.398421999999997</c:v>
                </c:pt>
                <c:pt idx="1067">
                  <c:v>43.898421999999997</c:v>
                </c:pt>
                <c:pt idx="1068">
                  <c:v>43.597641000000003</c:v>
                </c:pt>
                <c:pt idx="1069">
                  <c:v>41.999985000000002</c:v>
                </c:pt>
                <c:pt idx="1070">
                  <c:v>40.398421999999997</c:v>
                </c:pt>
                <c:pt idx="1071">
                  <c:v>37.898421999999997</c:v>
                </c:pt>
                <c:pt idx="1072">
                  <c:v>34.796863999999999</c:v>
                </c:pt>
                <c:pt idx="1073">
                  <c:v>30.898426000000001</c:v>
                </c:pt>
                <c:pt idx="1074">
                  <c:v>27.199209</c:v>
                </c:pt>
                <c:pt idx="1075">
                  <c:v>23.898427999999999</c:v>
                </c:pt>
                <c:pt idx="1076">
                  <c:v>19.898430000000001</c:v>
                </c:pt>
                <c:pt idx="1077">
                  <c:v>17.296869000000001</c:v>
                </c:pt>
                <c:pt idx="1078">
                  <c:v>14.597651000000001</c:v>
                </c:pt>
                <c:pt idx="1079">
                  <c:v>11.898433000000001</c:v>
                </c:pt>
                <c:pt idx="1080">
                  <c:v>9.9999962</c:v>
                </c:pt>
                <c:pt idx="1081">
                  <c:v>7.1992158999999996</c:v>
                </c:pt>
                <c:pt idx="1082">
                  <c:v>4.7968731</c:v>
                </c:pt>
                <c:pt idx="1083">
                  <c:v>2.1992180000000001</c:v>
                </c:pt>
                <c:pt idx="1084">
                  <c:v>0.89843713999999997</c:v>
                </c:pt>
                <c:pt idx="1085">
                  <c:v>0.49999981999999998</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1.0976558999999999</c:v>
                </c:pt>
                <c:pt idx="1100">
                  <c:v>4.1992172999999999</c:v>
                </c:pt>
                <c:pt idx="1101">
                  <c:v>6.5976539000000001</c:v>
                </c:pt>
                <c:pt idx="1102">
                  <c:v>8.8984345999999999</c:v>
                </c:pt>
                <c:pt idx="1103">
                  <c:v>11.699214</c:v>
                </c:pt>
                <c:pt idx="1104">
                  <c:v>14.499993999999999</c:v>
                </c:pt>
                <c:pt idx="1105">
                  <c:v>16.796869000000001</c:v>
                </c:pt>
                <c:pt idx="1106">
                  <c:v>17.699213</c:v>
                </c:pt>
                <c:pt idx="1107">
                  <c:v>18.199210999999998</c:v>
                </c:pt>
                <c:pt idx="1108">
                  <c:v>17.999991999999999</c:v>
                </c:pt>
                <c:pt idx="1109">
                  <c:v>17.296869000000001</c:v>
                </c:pt>
                <c:pt idx="1110">
                  <c:v>16.199213</c:v>
                </c:pt>
                <c:pt idx="1111">
                  <c:v>14.898432</c:v>
                </c:pt>
                <c:pt idx="1112">
                  <c:v>13.699214</c:v>
                </c:pt>
                <c:pt idx="1113">
                  <c:v>12.199214</c:v>
                </c:pt>
                <c:pt idx="1114">
                  <c:v>11.79687</c:v>
                </c:pt>
                <c:pt idx="1115">
                  <c:v>11.999995</c:v>
                </c:pt>
                <c:pt idx="1116">
                  <c:v>12.597651000000001</c:v>
                </c:pt>
                <c:pt idx="1117">
                  <c:v>13.29687</c:v>
                </c:pt>
                <c:pt idx="1118">
                  <c:v>13.999995</c:v>
                </c:pt>
                <c:pt idx="1119">
                  <c:v>15.199213</c:v>
                </c:pt>
                <c:pt idx="1120">
                  <c:v>16.898432</c:v>
                </c:pt>
                <c:pt idx="1121">
                  <c:v>18.199210999999998</c:v>
                </c:pt>
                <c:pt idx="1122">
                  <c:v>19.296866999999999</c:v>
                </c:pt>
                <c:pt idx="1123">
                  <c:v>20.097649000000001</c:v>
                </c:pt>
                <c:pt idx="1124">
                  <c:v>19.898430000000001</c:v>
                </c:pt>
                <c:pt idx="1125">
                  <c:v>18.296866999999999</c:v>
                </c:pt>
                <c:pt idx="1126">
                  <c:v>15.296868999999999</c:v>
                </c:pt>
                <c:pt idx="1127">
                  <c:v>11.597651000000001</c:v>
                </c:pt>
                <c:pt idx="1128">
                  <c:v>8.8984345999999999</c:v>
                </c:pt>
                <c:pt idx="1129">
                  <c:v>3.8984361000000001</c:v>
                </c:pt>
                <c:pt idx="1130">
                  <c:v>2.3984364999999999</c:v>
                </c:pt>
                <c:pt idx="1131">
                  <c:v>3.1015613000000002</c:v>
                </c:pt>
                <c:pt idx="1132">
                  <c:v>4.0976547999999999</c:v>
                </c:pt>
                <c:pt idx="1133">
                  <c:v>6.8984351000000004</c:v>
                </c:pt>
                <c:pt idx="1134">
                  <c:v>8.7968720999999999</c:v>
                </c:pt>
                <c:pt idx="1135">
                  <c:v>9.9999962</c:v>
                </c:pt>
                <c:pt idx="1136">
                  <c:v>10.999995999999999</c:v>
                </c:pt>
                <c:pt idx="1137">
                  <c:v>11.999995</c:v>
                </c:pt>
                <c:pt idx="1138">
                  <c:v>12.29687</c:v>
                </c:pt>
                <c:pt idx="1139">
                  <c:v>11.999995</c:v>
                </c:pt>
                <c:pt idx="1140">
                  <c:v>12.097651000000001</c:v>
                </c:pt>
                <c:pt idx="1141">
                  <c:v>12.597651000000001</c:v>
                </c:pt>
                <c:pt idx="1142">
                  <c:v>13.597651000000001</c:v>
                </c:pt>
                <c:pt idx="1143">
                  <c:v>14.699213</c:v>
                </c:pt>
                <c:pt idx="1144">
                  <c:v>14.296868999999999</c:v>
                </c:pt>
                <c:pt idx="1145">
                  <c:v>11.898433000000001</c:v>
                </c:pt>
                <c:pt idx="1146">
                  <c:v>10.597652</c:v>
                </c:pt>
                <c:pt idx="1147">
                  <c:v>9.3984337</c:v>
                </c:pt>
                <c:pt idx="1148">
                  <c:v>6.7968726000000004</c:v>
                </c:pt>
                <c:pt idx="1149">
                  <c:v>2.8984363000000002</c:v>
                </c:pt>
                <c:pt idx="1150">
                  <c:v>0.89843713999999997</c:v>
                </c:pt>
                <c:pt idx="1151">
                  <c:v>0.49999981999999998</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2.4999989999999999</c:v>
                </c:pt>
                <c:pt idx="1167">
                  <c:v>4.6015606</c:v>
                </c:pt>
                <c:pt idx="1168">
                  <c:v>6.5976539000000001</c:v>
                </c:pt>
                <c:pt idx="1169">
                  <c:v>9.0976523999999994</c:v>
                </c:pt>
                <c:pt idx="1170">
                  <c:v>11.79687</c:v>
                </c:pt>
                <c:pt idx="1171">
                  <c:v>14.999993999999999</c:v>
                </c:pt>
                <c:pt idx="1172">
                  <c:v>17.699213</c:v>
                </c:pt>
                <c:pt idx="1173">
                  <c:v>20.398430000000001</c:v>
                </c:pt>
                <c:pt idx="1174">
                  <c:v>22.99999</c:v>
                </c:pt>
                <c:pt idx="1175">
                  <c:v>24.49999</c:v>
                </c:pt>
                <c:pt idx="1176">
                  <c:v>26.199209</c:v>
                </c:pt>
                <c:pt idx="1177">
                  <c:v>25.203115</c:v>
                </c:pt>
                <c:pt idx="1178">
                  <c:v>23.49999</c:v>
                </c:pt>
                <c:pt idx="1179">
                  <c:v>21.398430000000001</c:v>
                </c:pt>
                <c:pt idx="1180">
                  <c:v>19.398430000000001</c:v>
                </c:pt>
                <c:pt idx="1181">
                  <c:v>16.601557</c:v>
                </c:pt>
                <c:pt idx="1182">
                  <c:v>12.199214</c:v>
                </c:pt>
                <c:pt idx="1183">
                  <c:v>8.7968720999999999</c:v>
                </c:pt>
                <c:pt idx="1184">
                  <c:v>4.1992172999999999</c:v>
                </c:pt>
                <c:pt idx="1185">
                  <c:v>1.4999994000000001</c:v>
                </c:pt>
                <c:pt idx="1186">
                  <c:v>0.49999981999999998</c:v>
                </c:pt>
                <c:pt idx="1187">
                  <c:v>0.49999981999999998</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3.2031238000000002</c:v>
                </c:pt>
                <c:pt idx="1213">
                  <c:v>7.4999970999999999</c:v>
                </c:pt>
                <c:pt idx="1214">
                  <c:v>10.796870999999999</c:v>
                </c:pt>
                <c:pt idx="1215">
                  <c:v>12.79687</c:v>
                </c:pt>
                <c:pt idx="1216">
                  <c:v>14.898432</c:v>
                </c:pt>
                <c:pt idx="1217">
                  <c:v>16.999994000000001</c:v>
                </c:pt>
                <c:pt idx="1218">
                  <c:v>19.296866999999999</c:v>
                </c:pt>
                <c:pt idx="1219">
                  <c:v>19.898430000000001</c:v>
                </c:pt>
                <c:pt idx="1220">
                  <c:v>18.999991999999999</c:v>
                </c:pt>
                <c:pt idx="1221">
                  <c:v>16.999994000000001</c:v>
                </c:pt>
                <c:pt idx="1222">
                  <c:v>14.999993999999999</c:v>
                </c:pt>
                <c:pt idx="1223">
                  <c:v>12.20312</c:v>
                </c:pt>
                <c:pt idx="1224">
                  <c:v>9.5976523999999994</c:v>
                </c:pt>
                <c:pt idx="1225">
                  <c:v>4.1992172999999999</c:v>
                </c:pt>
                <c:pt idx="1226">
                  <c:v>1.4999994000000001</c:v>
                </c:pt>
                <c:pt idx="1227">
                  <c:v>0.79687470000000005</c:v>
                </c:pt>
                <c:pt idx="1228">
                  <c:v>0.49999981999999998</c:v>
                </c:pt>
                <c:pt idx="1229">
                  <c:v>0.49999981999999998</c:v>
                </c:pt>
                <c:pt idx="1230">
                  <c:v>0</c:v>
                </c:pt>
                <c:pt idx="1231">
                  <c:v>0</c:v>
                </c:pt>
                <c:pt idx="1232">
                  <c:v>0</c:v>
                </c:pt>
                <c:pt idx="1233">
                  <c:v>0</c:v>
                </c:pt>
                <c:pt idx="1234">
                  <c:v>0</c:v>
                </c:pt>
                <c:pt idx="1235">
                  <c:v>0</c:v>
                </c:pt>
                <c:pt idx="1236">
                  <c:v>0</c:v>
                </c:pt>
                <c:pt idx="1237">
                  <c:v>2.6015614999999999</c:v>
                </c:pt>
                <c:pt idx="1238">
                  <c:v>5.2031231</c:v>
                </c:pt>
                <c:pt idx="1239">
                  <c:v>7.7968720999999999</c:v>
                </c:pt>
                <c:pt idx="1240">
                  <c:v>9.7031212</c:v>
                </c:pt>
                <c:pt idx="1241">
                  <c:v>11.898433000000001</c:v>
                </c:pt>
                <c:pt idx="1242">
                  <c:v>14.601557</c:v>
                </c:pt>
                <c:pt idx="1243">
                  <c:v>17.101557</c:v>
                </c:pt>
                <c:pt idx="1244">
                  <c:v>20.499991999999999</c:v>
                </c:pt>
                <c:pt idx="1245">
                  <c:v>22.796866999999999</c:v>
                </c:pt>
                <c:pt idx="1246">
                  <c:v>24.898427999999999</c:v>
                </c:pt>
                <c:pt idx="1247">
                  <c:v>26.296865</c:v>
                </c:pt>
                <c:pt idx="1248">
                  <c:v>28.398426000000001</c:v>
                </c:pt>
                <c:pt idx="1249">
                  <c:v>30.296863999999999</c:v>
                </c:pt>
                <c:pt idx="1250">
                  <c:v>31.898426000000001</c:v>
                </c:pt>
                <c:pt idx="1251">
                  <c:v>33.296863999999999</c:v>
                </c:pt>
                <c:pt idx="1252">
                  <c:v>33.898426000000001</c:v>
                </c:pt>
                <c:pt idx="1253">
                  <c:v>34.999988999999999</c:v>
                </c:pt>
                <c:pt idx="1254">
                  <c:v>36.398421999999997</c:v>
                </c:pt>
                <c:pt idx="1255">
                  <c:v>37.499985000000002</c:v>
                </c:pt>
                <c:pt idx="1256">
                  <c:v>38.601546999999997</c:v>
                </c:pt>
                <c:pt idx="1257">
                  <c:v>39.796860000000002</c:v>
                </c:pt>
                <c:pt idx="1258">
                  <c:v>40.999985000000002</c:v>
                </c:pt>
                <c:pt idx="1259">
                  <c:v>41.898421999999997</c:v>
                </c:pt>
                <c:pt idx="1260">
                  <c:v>42.101546999999997</c:v>
                </c:pt>
                <c:pt idx="1261">
                  <c:v>41.703110000000002</c:v>
                </c:pt>
                <c:pt idx="1262">
                  <c:v>40.398421999999997</c:v>
                </c:pt>
                <c:pt idx="1263">
                  <c:v>38.796860000000002</c:v>
                </c:pt>
                <c:pt idx="1264">
                  <c:v>37.203110000000002</c:v>
                </c:pt>
                <c:pt idx="1265">
                  <c:v>34.999988999999999</c:v>
                </c:pt>
                <c:pt idx="1266">
                  <c:v>31.999988999999999</c:v>
                </c:pt>
                <c:pt idx="1267">
                  <c:v>28.499988999999999</c:v>
                </c:pt>
                <c:pt idx="1268">
                  <c:v>26.296865</c:v>
                </c:pt>
                <c:pt idx="1269">
                  <c:v>24.101552999999999</c:v>
                </c:pt>
                <c:pt idx="1270">
                  <c:v>20.203116999999999</c:v>
                </c:pt>
                <c:pt idx="1271">
                  <c:v>17.796869000000001</c:v>
                </c:pt>
                <c:pt idx="1272">
                  <c:v>15.601557</c:v>
                </c:pt>
                <c:pt idx="1273">
                  <c:v>12.101558000000001</c:v>
                </c:pt>
                <c:pt idx="1274">
                  <c:v>9.1015587</c:v>
                </c:pt>
                <c:pt idx="1275">
                  <c:v>7.2031220999999999</c:v>
                </c:pt>
                <c:pt idx="1276">
                  <c:v>4.2968735999999996</c:v>
                </c:pt>
                <c:pt idx="1277">
                  <c:v>2.7031239999999999</c:v>
                </c:pt>
                <c:pt idx="1278">
                  <c:v>0.79687470000000005</c:v>
                </c:pt>
                <c:pt idx="1279">
                  <c:v>0.49999981999999998</c:v>
                </c:pt>
                <c:pt idx="1280">
                  <c:v>0</c:v>
                </c:pt>
                <c:pt idx="1281">
                  <c:v>0</c:v>
                </c:pt>
                <c:pt idx="1282">
                  <c:v>0</c:v>
                </c:pt>
                <c:pt idx="1283">
                  <c:v>0</c:v>
                </c:pt>
                <c:pt idx="1284">
                  <c:v>1.6015619000000001</c:v>
                </c:pt>
                <c:pt idx="1285">
                  <c:v>3.7031236000000001</c:v>
                </c:pt>
                <c:pt idx="1286">
                  <c:v>6.9999976000000004</c:v>
                </c:pt>
                <c:pt idx="1287">
                  <c:v>10.101559</c:v>
                </c:pt>
                <c:pt idx="1288">
                  <c:v>12.79687</c:v>
                </c:pt>
                <c:pt idx="1289">
                  <c:v>15.296868999999999</c:v>
                </c:pt>
                <c:pt idx="1290">
                  <c:v>18.499991999999999</c:v>
                </c:pt>
                <c:pt idx="1291">
                  <c:v>20.203116999999999</c:v>
                </c:pt>
                <c:pt idx="1292">
                  <c:v>20.796866999999999</c:v>
                </c:pt>
                <c:pt idx="1293">
                  <c:v>21.999991999999999</c:v>
                </c:pt>
                <c:pt idx="1294">
                  <c:v>23.703115</c:v>
                </c:pt>
                <c:pt idx="1295">
                  <c:v>25.101552999999999</c:v>
                </c:pt>
                <c:pt idx="1296">
                  <c:v>26.796865</c:v>
                </c:pt>
                <c:pt idx="1297">
                  <c:v>28.601551000000001</c:v>
                </c:pt>
                <c:pt idx="1298">
                  <c:v>30.796863999999999</c:v>
                </c:pt>
                <c:pt idx="1299">
                  <c:v>32.499988999999999</c:v>
                </c:pt>
                <c:pt idx="1300">
                  <c:v>33.703113999999999</c:v>
                </c:pt>
                <c:pt idx="1301">
                  <c:v>34.398426000000001</c:v>
                </c:pt>
                <c:pt idx="1302">
                  <c:v>35.203113999999999</c:v>
                </c:pt>
                <c:pt idx="1303">
                  <c:v>36.203110000000002</c:v>
                </c:pt>
                <c:pt idx="1304">
                  <c:v>36.898421999999997</c:v>
                </c:pt>
                <c:pt idx="1305">
                  <c:v>37.703110000000002</c:v>
                </c:pt>
                <c:pt idx="1306">
                  <c:v>38.703110000000002</c:v>
                </c:pt>
                <c:pt idx="1307">
                  <c:v>39.499985000000002</c:v>
                </c:pt>
                <c:pt idx="1308">
                  <c:v>40.296860000000002</c:v>
                </c:pt>
                <c:pt idx="1309">
                  <c:v>40.999985000000002</c:v>
                </c:pt>
                <c:pt idx="1310">
                  <c:v>40.796860000000002</c:v>
                </c:pt>
                <c:pt idx="1311">
                  <c:v>39.703110000000002</c:v>
                </c:pt>
                <c:pt idx="1312">
                  <c:v>37.203110000000002</c:v>
                </c:pt>
                <c:pt idx="1313">
                  <c:v>33.999988999999999</c:v>
                </c:pt>
                <c:pt idx="1314">
                  <c:v>29.499988999999999</c:v>
                </c:pt>
                <c:pt idx="1315">
                  <c:v>26.203115</c:v>
                </c:pt>
                <c:pt idx="1316">
                  <c:v>22.499991999999999</c:v>
                </c:pt>
                <c:pt idx="1317">
                  <c:v>17.703119000000001</c:v>
                </c:pt>
                <c:pt idx="1318">
                  <c:v>13.70312</c:v>
                </c:pt>
                <c:pt idx="1319">
                  <c:v>10.796870999999999</c:v>
                </c:pt>
                <c:pt idx="1320">
                  <c:v>6.3984351000000004</c:v>
                </c:pt>
                <c:pt idx="1321">
                  <c:v>2.6015614999999999</c:v>
                </c:pt>
                <c:pt idx="1322">
                  <c:v>1.2031244999999999</c:v>
                </c:pt>
                <c:pt idx="1323">
                  <c:v>0.49999981999999998</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1.1015621</c:v>
                </c:pt>
                <c:pt idx="1370">
                  <c:v>3.7031236000000001</c:v>
                </c:pt>
                <c:pt idx="1371">
                  <c:v>5.7031231</c:v>
                </c:pt>
                <c:pt idx="1372">
                  <c:v>7.9999970999999999</c:v>
                </c:pt>
                <c:pt idx="1373">
                  <c:v>9.9999962</c:v>
                </c:pt>
                <c:pt idx="1374">
                  <c:v>11.79687</c:v>
                </c:pt>
                <c:pt idx="1375">
                  <c:v>13.499995</c:v>
                </c:pt>
                <c:pt idx="1376">
                  <c:v>15.101557</c:v>
                </c:pt>
                <c:pt idx="1377">
                  <c:v>16.398432</c:v>
                </c:pt>
                <c:pt idx="1378">
                  <c:v>17.796869000000001</c:v>
                </c:pt>
                <c:pt idx="1379">
                  <c:v>18.601555000000001</c:v>
                </c:pt>
                <c:pt idx="1380">
                  <c:v>19.898430000000001</c:v>
                </c:pt>
                <c:pt idx="1381">
                  <c:v>21.398430000000001</c:v>
                </c:pt>
                <c:pt idx="1382">
                  <c:v>22.898430000000001</c:v>
                </c:pt>
                <c:pt idx="1383">
                  <c:v>23.703115</c:v>
                </c:pt>
                <c:pt idx="1384">
                  <c:v>23.398427999999999</c:v>
                </c:pt>
                <c:pt idx="1385">
                  <c:v>23.398427999999999</c:v>
                </c:pt>
                <c:pt idx="1386">
                  <c:v>21.203116999999999</c:v>
                </c:pt>
                <c:pt idx="1387">
                  <c:v>19.499991999999999</c:v>
                </c:pt>
                <c:pt idx="1388">
                  <c:v>18.703116999999999</c:v>
                </c:pt>
                <c:pt idx="1389">
                  <c:v>18.898430000000001</c:v>
                </c:pt>
                <c:pt idx="1390">
                  <c:v>18.796866999999999</c:v>
                </c:pt>
                <c:pt idx="1391">
                  <c:v>19.398430000000001</c:v>
                </c:pt>
                <c:pt idx="1392">
                  <c:v>20.203116999999999</c:v>
                </c:pt>
                <c:pt idx="1393">
                  <c:v>20.898430000000001</c:v>
                </c:pt>
                <c:pt idx="1394">
                  <c:v>21.898430000000001</c:v>
                </c:pt>
                <c:pt idx="1395">
                  <c:v>22.796866999999999</c:v>
                </c:pt>
                <c:pt idx="1396">
                  <c:v>23.601552999999999</c:v>
                </c:pt>
                <c:pt idx="1397">
                  <c:v>24.49999</c:v>
                </c:pt>
                <c:pt idx="1398">
                  <c:v>24.796865</c:v>
                </c:pt>
                <c:pt idx="1399">
                  <c:v>23.101552999999999</c:v>
                </c:pt>
                <c:pt idx="1400">
                  <c:v>19.203116999999999</c:v>
                </c:pt>
                <c:pt idx="1401">
                  <c:v>16.101557</c:v>
                </c:pt>
                <c:pt idx="1402">
                  <c:v>11.296870999999999</c:v>
                </c:pt>
                <c:pt idx="1403">
                  <c:v>6.7968726000000004</c:v>
                </c:pt>
                <c:pt idx="1404">
                  <c:v>2.1015617999999998</c:v>
                </c:pt>
                <c:pt idx="1405">
                  <c:v>0.49999981999999998</c:v>
                </c:pt>
                <c:pt idx="1406">
                  <c:v>0.49999981999999998</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1.1015621</c:v>
                </c:pt>
                <c:pt idx="1424">
                  <c:v>3.8984361000000001</c:v>
                </c:pt>
                <c:pt idx="1425">
                  <c:v>5.8984351000000004</c:v>
                </c:pt>
                <c:pt idx="1426">
                  <c:v>8.1015595999999999</c:v>
                </c:pt>
                <c:pt idx="1427">
                  <c:v>9.9999962</c:v>
                </c:pt>
                <c:pt idx="1428">
                  <c:v>10.898434</c:v>
                </c:pt>
                <c:pt idx="1429">
                  <c:v>11.203120999999999</c:v>
                </c:pt>
                <c:pt idx="1430">
                  <c:v>10.898434</c:v>
                </c:pt>
                <c:pt idx="1431">
                  <c:v>10.601559</c:v>
                </c:pt>
                <c:pt idx="1432">
                  <c:v>10.499995999999999</c:v>
                </c:pt>
                <c:pt idx="1433">
                  <c:v>10.398434</c:v>
                </c:pt>
                <c:pt idx="1434">
                  <c:v>11.203120999999999</c:v>
                </c:pt>
                <c:pt idx="1435">
                  <c:v>12.398433000000001</c:v>
                </c:pt>
                <c:pt idx="1436">
                  <c:v>14.203118999999999</c:v>
                </c:pt>
                <c:pt idx="1437">
                  <c:v>16.398432</c:v>
                </c:pt>
                <c:pt idx="1438">
                  <c:v>18.101555000000001</c:v>
                </c:pt>
                <c:pt idx="1439">
                  <c:v>20.398430000000001</c:v>
                </c:pt>
                <c:pt idx="1440">
                  <c:v>21.703116999999999</c:v>
                </c:pt>
                <c:pt idx="1441">
                  <c:v>21.203116999999999</c:v>
                </c:pt>
                <c:pt idx="1442">
                  <c:v>18.703116999999999</c:v>
                </c:pt>
                <c:pt idx="1443">
                  <c:v>15.898432</c:v>
                </c:pt>
                <c:pt idx="1444">
                  <c:v>11.999995</c:v>
                </c:pt>
                <c:pt idx="1445">
                  <c:v>7.8984345999999999</c:v>
                </c:pt>
                <c:pt idx="1446">
                  <c:v>3.7968736000000001</c:v>
                </c:pt>
                <c:pt idx="1447">
                  <c:v>1.9999993</c:v>
                </c:pt>
                <c:pt idx="1448">
                  <c:v>0.49999981999999998</c:v>
                </c:pt>
                <c:pt idx="1449">
                  <c:v>0.49999981999999998</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2.9999988000000002</c:v>
                </c:pt>
                <c:pt idx="1467">
                  <c:v>6.4999976000000004</c:v>
                </c:pt>
                <c:pt idx="1468">
                  <c:v>8.6015595999999999</c:v>
                </c:pt>
                <c:pt idx="1469">
                  <c:v>10.101559</c:v>
                </c:pt>
                <c:pt idx="1470">
                  <c:v>11.499995</c:v>
                </c:pt>
                <c:pt idx="1471">
                  <c:v>13.70312</c:v>
                </c:pt>
                <c:pt idx="1472">
                  <c:v>16.203119000000001</c:v>
                </c:pt>
                <c:pt idx="1473">
                  <c:v>18.499991999999999</c:v>
                </c:pt>
                <c:pt idx="1474">
                  <c:v>20.999991999999999</c:v>
                </c:pt>
                <c:pt idx="1475">
                  <c:v>22.296866999999999</c:v>
                </c:pt>
                <c:pt idx="1476">
                  <c:v>23.296865</c:v>
                </c:pt>
                <c:pt idx="1477">
                  <c:v>24.601552999999999</c:v>
                </c:pt>
                <c:pt idx="1478">
                  <c:v>25.101552999999999</c:v>
                </c:pt>
                <c:pt idx="1479">
                  <c:v>24.796865</c:v>
                </c:pt>
                <c:pt idx="1480">
                  <c:v>23.296865</c:v>
                </c:pt>
                <c:pt idx="1481">
                  <c:v>21.101555000000001</c:v>
                </c:pt>
                <c:pt idx="1482">
                  <c:v>18.601555000000001</c:v>
                </c:pt>
                <c:pt idx="1483">
                  <c:v>15.296868999999999</c:v>
                </c:pt>
                <c:pt idx="1484">
                  <c:v>12.499995</c:v>
                </c:pt>
                <c:pt idx="1485">
                  <c:v>11.601558000000001</c:v>
                </c:pt>
                <c:pt idx="1486">
                  <c:v>11.898433000000001</c:v>
                </c:pt>
                <c:pt idx="1487">
                  <c:v>13.29687</c:v>
                </c:pt>
                <c:pt idx="1488">
                  <c:v>13.999995</c:v>
                </c:pt>
                <c:pt idx="1489">
                  <c:v>14.601557</c:v>
                </c:pt>
                <c:pt idx="1490">
                  <c:v>15.796868999999999</c:v>
                </c:pt>
                <c:pt idx="1491">
                  <c:v>17.703119000000001</c:v>
                </c:pt>
                <c:pt idx="1492">
                  <c:v>19.203116999999999</c:v>
                </c:pt>
                <c:pt idx="1493">
                  <c:v>21.601555000000001</c:v>
                </c:pt>
                <c:pt idx="1494">
                  <c:v>22.398430000000001</c:v>
                </c:pt>
                <c:pt idx="1495">
                  <c:v>23.203115</c:v>
                </c:pt>
                <c:pt idx="1496">
                  <c:v>22.796866999999999</c:v>
                </c:pt>
                <c:pt idx="1497">
                  <c:v>21.398430000000001</c:v>
                </c:pt>
                <c:pt idx="1498">
                  <c:v>19.999991999999999</c:v>
                </c:pt>
                <c:pt idx="1499">
                  <c:v>18.398430000000001</c:v>
                </c:pt>
                <c:pt idx="1500">
                  <c:v>16.499994000000001</c:v>
                </c:pt>
                <c:pt idx="1501">
                  <c:v>14.499993999999999</c:v>
                </c:pt>
                <c:pt idx="1502">
                  <c:v>13.20312</c:v>
                </c:pt>
                <c:pt idx="1503">
                  <c:v>12.601558000000001</c:v>
                </c:pt>
                <c:pt idx="1504">
                  <c:v>11.398434</c:v>
                </c:pt>
                <c:pt idx="1505">
                  <c:v>10.499995999999999</c:v>
                </c:pt>
                <c:pt idx="1506">
                  <c:v>9.6015587</c:v>
                </c:pt>
                <c:pt idx="1507">
                  <c:v>8.3984345999999999</c:v>
                </c:pt>
                <c:pt idx="1508">
                  <c:v>7.8984345999999999</c:v>
                </c:pt>
                <c:pt idx="1509">
                  <c:v>7.9999970999999999</c:v>
                </c:pt>
                <c:pt idx="1510">
                  <c:v>8.2968720999999999</c:v>
                </c:pt>
                <c:pt idx="1511">
                  <c:v>9.8984337</c:v>
                </c:pt>
                <c:pt idx="1512">
                  <c:v>12.29687</c:v>
                </c:pt>
                <c:pt idx="1513">
                  <c:v>14.999993999999999</c:v>
                </c:pt>
                <c:pt idx="1514">
                  <c:v>17.601557</c:v>
                </c:pt>
                <c:pt idx="1515">
                  <c:v>18.898430000000001</c:v>
                </c:pt>
                <c:pt idx="1516">
                  <c:v>17.898430000000001</c:v>
                </c:pt>
                <c:pt idx="1517">
                  <c:v>15.999993999999999</c:v>
                </c:pt>
                <c:pt idx="1518">
                  <c:v>13.70312</c:v>
                </c:pt>
                <c:pt idx="1519">
                  <c:v>11.499995</c:v>
                </c:pt>
                <c:pt idx="1520">
                  <c:v>8.4999970999999999</c:v>
                </c:pt>
                <c:pt idx="1521">
                  <c:v>5.2031231</c:v>
                </c:pt>
                <c:pt idx="1522">
                  <c:v>2.2031242999999998</c:v>
                </c:pt>
                <c:pt idx="1523">
                  <c:v>0.89843713999999997</c:v>
                </c:pt>
                <c:pt idx="1524">
                  <c:v>0.49999981999999998</c:v>
                </c:pt>
                <c:pt idx="1525">
                  <c:v>0</c:v>
                </c:pt>
                <c:pt idx="1526">
                  <c:v>0</c:v>
                </c:pt>
                <c:pt idx="1527">
                  <c:v>0</c:v>
                </c:pt>
                <c:pt idx="1528">
                  <c:v>0</c:v>
                </c:pt>
                <c:pt idx="1529">
                  <c:v>0</c:v>
                </c:pt>
                <c:pt idx="1530">
                  <c:v>0</c:v>
                </c:pt>
                <c:pt idx="1531">
                  <c:v>0</c:v>
                </c:pt>
                <c:pt idx="1532">
                  <c:v>0</c:v>
                </c:pt>
                <c:pt idx="1533">
                  <c:v>0</c:v>
                </c:pt>
                <c:pt idx="1534">
                  <c:v>0</c:v>
                </c:pt>
                <c:pt idx="1535">
                  <c:v>1.4999994000000001</c:v>
                </c:pt>
                <c:pt idx="1536">
                  <c:v>2.8984363000000002</c:v>
                </c:pt>
                <c:pt idx="1537">
                  <c:v>4.1015610999999996</c:v>
                </c:pt>
                <c:pt idx="1538">
                  <c:v>6.1015601000000004</c:v>
                </c:pt>
                <c:pt idx="1539">
                  <c:v>7.9999970999999999</c:v>
                </c:pt>
                <c:pt idx="1540">
                  <c:v>9.3984337</c:v>
                </c:pt>
                <c:pt idx="1541">
                  <c:v>10.796870999999999</c:v>
                </c:pt>
                <c:pt idx="1542">
                  <c:v>11.898433000000001</c:v>
                </c:pt>
                <c:pt idx="1543">
                  <c:v>12.999995</c:v>
                </c:pt>
                <c:pt idx="1544">
                  <c:v>14.296868999999999</c:v>
                </c:pt>
                <c:pt idx="1545">
                  <c:v>16.203119000000001</c:v>
                </c:pt>
                <c:pt idx="1546">
                  <c:v>17.898430000000001</c:v>
                </c:pt>
                <c:pt idx="1547">
                  <c:v>19.898430000000001</c:v>
                </c:pt>
                <c:pt idx="1548">
                  <c:v>21.703116999999999</c:v>
                </c:pt>
                <c:pt idx="1549">
                  <c:v>22.398430000000001</c:v>
                </c:pt>
                <c:pt idx="1550">
                  <c:v>24.101552999999999</c:v>
                </c:pt>
                <c:pt idx="1551">
                  <c:v>24.296865</c:v>
                </c:pt>
                <c:pt idx="1552">
                  <c:v>23.99999</c:v>
                </c:pt>
                <c:pt idx="1553">
                  <c:v>22.703116999999999</c:v>
                </c:pt>
                <c:pt idx="1554">
                  <c:v>19.999991999999999</c:v>
                </c:pt>
                <c:pt idx="1555">
                  <c:v>18.796866999999999</c:v>
                </c:pt>
                <c:pt idx="1556">
                  <c:v>16.703119000000001</c:v>
                </c:pt>
                <c:pt idx="1557">
                  <c:v>14.703118999999999</c:v>
                </c:pt>
                <c:pt idx="1558">
                  <c:v>10.499995999999999</c:v>
                </c:pt>
                <c:pt idx="1559">
                  <c:v>7.2031220999999999</c:v>
                </c:pt>
                <c:pt idx="1560">
                  <c:v>3.1015613000000002</c:v>
                </c:pt>
                <c:pt idx="1561">
                  <c:v>0.79687470000000005</c:v>
                </c:pt>
                <c:pt idx="1562">
                  <c:v>0.49999981999999998</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2.2968739999999999</c:v>
                </c:pt>
                <c:pt idx="1580">
                  <c:v>5.2031231</c:v>
                </c:pt>
                <c:pt idx="1581">
                  <c:v>6.3984351000000004</c:v>
                </c:pt>
                <c:pt idx="1582">
                  <c:v>6.4999976000000004</c:v>
                </c:pt>
                <c:pt idx="1583">
                  <c:v>6.9999976000000004</c:v>
                </c:pt>
                <c:pt idx="1584">
                  <c:v>6.7968726000000004</c:v>
                </c:pt>
                <c:pt idx="1585">
                  <c:v>5.8984351000000004</c:v>
                </c:pt>
                <c:pt idx="1586">
                  <c:v>3.9999986000000001</c:v>
                </c:pt>
                <c:pt idx="1587">
                  <c:v>1.3984369999999999</c:v>
                </c:pt>
                <c:pt idx="1588">
                  <c:v>0.49999981999999998</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2.7031239999999999</c:v>
                </c:pt>
                <c:pt idx="1619">
                  <c:v>5.7031231</c:v>
                </c:pt>
                <c:pt idx="1620">
                  <c:v>7.8984345999999999</c:v>
                </c:pt>
                <c:pt idx="1621">
                  <c:v>9.6015587</c:v>
                </c:pt>
                <c:pt idx="1622">
                  <c:v>10.796870999999999</c:v>
                </c:pt>
                <c:pt idx="1623">
                  <c:v>11.203120999999999</c:v>
                </c:pt>
                <c:pt idx="1624">
                  <c:v>11.203120999999999</c:v>
                </c:pt>
                <c:pt idx="1625">
                  <c:v>11.601558000000001</c:v>
                </c:pt>
                <c:pt idx="1626">
                  <c:v>11.999995</c:v>
                </c:pt>
                <c:pt idx="1627">
                  <c:v>12.601558000000001</c:v>
                </c:pt>
                <c:pt idx="1628">
                  <c:v>13.29687</c:v>
                </c:pt>
                <c:pt idx="1629">
                  <c:v>14.398432</c:v>
                </c:pt>
                <c:pt idx="1630">
                  <c:v>15.601557</c:v>
                </c:pt>
                <c:pt idx="1631">
                  <c:v>16.796869000000001</c:v>
                </c:pt>
                <c:pt idx="1632">
                  <c:v>18.203116999999999</c:v>
                </c:pt>
                <c:pt idx="1633">
                  <c:v>19.601555000000001</c:v>
                </c:pt>
                <c:pt idx="1634">
                  <c:v>21.101555000000001</c:v>
                </c:pt>
                <c:pt idx="1635">
                  <c:v>22.101555000000001</c:v>
                </c:pt>
                <c:pt idx="1636">
                  <c:v>23.601552999999999</c:v>
                </c:pt>
                <c:pt idx="1637">
                  <c:v>23.49999</c:v>
                </c:pt>
                <c:pt idx="1638">
                  <c:v>22.296866999999999</c:v>
                </c:pt>
                <c:pt idx="1639">
                  <c:v>18.499991999999999</c:v>
                </c:pt>
                <c:pt idx="1640">
                  <c:v>15.796868999999999</c:v>
                </c:pt>
                <c:pt idx="1641">
                  <c:v>15.499993999999999</c:v>
                </c:pt>
                <c:pt idx="1642">
                  <c:v>15.999993999999999</c:v>
                </c:pt>
                <c:pt idx="1643">
                  <c:v>16.601557</c:v>
                </c:pt>
                <c:pt idx="1644">
                  <c:v>17.601557</c:v>
                </c:pt>
                <c:pt idx="1645">
                  <c:v>18.999991999999999</c:v>
                </c:pt>
                <c:pt idx="1646">
                  <c:v>20.398430000000001</c:v>
                </c:pt>
                <c:pt idx="1647">
                  <c:v>21.898430000000001</c:v>
                </c:pt>
                <c:pt idx="1648">
                  <c:v>21.796866999999999</c:v>
                </c:pt>
                <c:pt idx="1649">
                  <c:v>20.398430000000001</c:v>
                </c:pt>
                <c:pt idx="1650">
                  <c:v>17.296869000000001</c:v>
                </c:pt>
                <c:pt idx="1651">
                  <c:v>13.101558000000001</c:v>
                </c:pt>
                <c:pt idx="1652">
                  <c:v>8.4999970999999999</c:v>
                </c:pt>
                <c:pt idx="1653">
                  <c:v>5.3984356</c:v>
                </c:pt>
                <c:pt idx="1654">
                  <c:v>1.6015619000000001</c:v>
                </c:pt>
                <c:pt idx="1655">
                  <c:v>0.49999981999999998</c:v>
                </c:pt>
                <c:pt idx="1656">
                  <c:v>0.49999981999999998</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3.9999986000000001</c:v>
                </c:pt>
                <c:pt idx="1671">
                  <c:v>6.4999976000000004</c:v>
                </c:pt>
                <c:pt idx="1672">
                  <c:v>8.2968720999999999</c:v>
                </c:pt>
                <c:pt idx="1673">
                  <c:v>10.101559</c:v>
                </c:pt>
                <c:pt idx="1674">
                  <c:v>11.999995</c:v>
                </c:pt>
                <c:pt idx="1675">
                  <c:v>14.398432</c:v>
                </c:pt>
                <c:pt idx="1676">
                  <c:v>17.296869000000001</c:v>
                </c:pt>
                <c:pt idx="1677">
                  <c:v>19.898430000000001</c:v>
                </c:pt>
                <c:pt idx="1678">
                  <c:v>22.101555000000001</c:v>
                </c:pt>
                <c:pt idx="1679">
                  <c:v>24.101552999999999</c:v>
                </c:pt>
                <c:pt idx="1680">
                  <c:v>25.601552999999999</c:v>
                </c:pt>
                <c:pt idx="1681">
                  <c:v>27.296865</c:v>
                </c:pt>
                <c:pt idx="1682">
                  <c:v>28.898426000000001</c:v>
                </c:pt>
                <c:pt idx="1683">
                  <c:v>30.398426000000001</c:v>
                </c:pt>
                <c:pt idx="1684">
                  <c:v>31.398426000000001</c:v>
                </c:pt>
                <c:pt idx="1685">
                  <c:v>30.796863999999999</c:v>
                </c:pt>
                <c:pt idx="1686">
                  <c:v>29.203113999999999</c:v>
                </c:pt>
                <c:pt idx="1687">
                  <c:v>27.101552999999999</c:v>
                </c:pt>
                <c:pt idx="1688">
                  <c:v>24.203115</c:v>
                </c:pt>
                <c:pt idx="1689">
                  <c:v>20.601555000000001</c:v>
                </c:pt>
                <c:pt idx="1690">
                  <c:v>17.601557</c:v>
                </c:pt>
                <c:pt idx="1691">
                  <c:v>14.499993999999999</c:v>
                </c:pt>
                <c:pt idx="1692">
                  <c:v>11.601558000000001</c:v>
                </c:pt>
                <c:pt idx="1693">
                  <c:v>9.3984337</c:v>
                </c:pt>
                <c:pt idx="1694">
                  <c:v>7.6015595999999999</c:v>
                </c:pt>
                <c:pt idx="1695">
                  <c:v>6.3984351000000004</c:v>
                </c:pt>
                <c:pt idx="1696">
                  <c:v>5.8984351000000004</c:v>
                </c:pt>
                <c:pt idx="1697">
                  <c:v>3.7031236000000001</c:v>
                </c:pt>
                <c:pt idx="1698">
                  <c:v>1.6015619000000001</c:v>
                </c:pt>
                <c:pt idx="1699">
                  <c:v>0.49999981999999998</c:v>
                </c:pt>
                <c:pt idx="1700">
                  <c:v>0.49999981999999998</c:v>
                </c:pt>
                <c:pt idx="1701">
                  <c:v>0</c:v>
                </c:pt>
                <c:pt idx="1702">
                  <c:v>0</c:v>
                </c:pt>
                <c:pt idx="1703">
                  <c:v>0</c:v>
                </c:pt>
                <c:pt idx="1704">
                  <c:v>0</c:v>
                </c:pt>
                <c:pt idx="1705">
                  <c:v>0</c:v>
                </c:pt>
                <c:pt idx="1706">
                  <c:v>0</c:v>
                </c:pt>
                <c:pt idx="1707">
                  <c:v>0</c:v>
                </c:pt>
                <c:pt idx="1708">
                  <c:v>0</c:v>
                </c:pt>
                <c:pt idx="1709">
                  <c:v>0</c:v>
                </c:pt>
                <c:pt idx="1710">
                  <c:v>0</c:v>
                </c:pt>
                <c:pt idx="1711">
                  <c:v>2.3984364999999999</c:v>
                </c:pt>
                <c:pt idx="1712">
                  <c:v>5.8984351000000004</c:v>
                </c:pt>
                <c:pt idx="1713">
                  <c:v>9.2968712</c:v>
                </c:pt>
                <c:pt idx="1714">
                  <c:v>12.101558000000001</c:v>
                </c:pt>
                <c:pt idx="1715">
                  <c:v>13.601558000000001</c:v>
                </c:pt>
                <c:pt idx="1716">
                  <c:v>15.296868999999999</c:v>
                </c:pt>
                <c:pt idx="1717">
                  <c:v>17.398432</c:v>
                </c:pt>
                <c:pt idx="1718">
                  <c:v>19.398430000000001</c:v>
                </c:pt>
                <c:pt idx="1719">
                  <c:v>22.101555000000001</c:v>
                </c:pt>
                <c:pt idx="1720">
                  <c:v>24.49999</c:v>
                </c:pt>
                <c:pt idx="1721">
                  <c:v>26.398427999999999</c:v>
                </c:pt>
                <c:pt idx="1722">
                  <c:v>28.296863999999999</c:v>
                </c:pt>
                <c:pt idx="1723">
                  <c:v>30.296863999999999</c:v>
                </c:pt>
                <c:pt idx="1724">
                  <c:v>31.796863999999999</c:v>
                </c:pt>
                <c:pt idx="1725">
                  <c:v>32.999988999999999</c:v>
                </c:pt>
                <c:pt idx="1726">
                  <c:v>33.203113999999999</c:v>
                </c:pt>
                <c:pt idx="1727">
                  <c:v>34.203113999999999</c:v>
                </c:pt>
                <c:pt idx="1728">
                  <c:v>32.999988999999999</c:v>
                </c:pt>
                <c:pt idx="1729">
                  <c:v>30.796863999999999</c:v>
                </c:pt>
                <c:pt idx="1730">
                  <c:v>27.101552999999999</c:v>
                </c:pt>
                <c:pt idx="1731">
                  <c:v>23.99999</c:v>
                </c:pt>
                <c:pt idx="1732">
                  <c:v>19.601555000000001</c:v>
                </c:pt>
                <c:pt idx="1733">
                  <c:v>15.999993999999999</c:v>
                </c:pt>
                <c:pt idx="1734">
                  <c:v>12.101558000000001</c:v>
                </c:pt>
                <c:pt idx="1735">
                  <c:v>7.6015595999999999</c:v>
                </c:pt>
                <c:pt idx="1736">
                  <c:v>3.7031236000000001</c:v>
                </c:pt>
                <c:pt idx="1737">
                  <c:v>1.2968744999999999</c:v>
                </c:pt>
                <c:pt idx="1738">
                  <c:v>0.49999981999999998</c:v>
                </c:pt>
                <c:pt idx="1739">
                  <c:v>0.49999981999999998</c:v>
                </c:pt>
                <c:pt idx="1740">
                  <c:v>0</c:v>
                </c:pt>
                <c:pt idx="1741">
                  <c:v>0</c:v>
                </c:pt>
                <c:pt idx="1742">
                  <c:v>0</c:v>
                </c:pt>
                <c:pt idx="1743">
                  <c:v>0</c:v>
                </c:pt>
                <c:pt idx="1744">
                  <c:v>0</c:v>
                </c:pt>
                <c:pt idx="1745">
                  <c:v>0</c:v>
                </c:pt>
                <c:pt idx="1746">
                  <c:v>2.7031239999999999</c:v>
                </c:pt>
                <c:pt idx="1747">
                  <c:v>6.2031226000000004</c:v>
                </c:pt>
                <c:pt idx="1748">
                  <c:v>9.7031212</c:v>
                </c:pt>
                <c:pt idx="1749">
                  <c:v>12.70312</c:v>
                </c:pt>
                <c:pt idx="1750">
                  <c:v>15.398432</c:v>
                </c:pt>
                <c:pt idx="1751">
                  <c:v>17.203119000000001</c:v>
                </c:pt>
                <c:pt idx="1752">
                  <c:v>19.398430000000001</c:v>
                </c:pt>
                <c:pt idx="1753">
                  <c:v>21.499991999999999</c:v>
                </c:pt>
                <c:pt idx="1754">
                  <c:v>23.99999</c:v>
                </c:pt>
                <c:pt idx="1755">
                  <c:v>26.203115</c:v>
                </c:pt>
                <c:pt idx="1756">
                  <c:v>28.203113999999999</c:v>
                </c:pt>
                <c:pt idx="1757">
                  <c:v>30.296863999999999</c:v>
                </c:pt>
                <c:pt idx="1758">
                  <c:v>31.499988999999999</c:v>
                </c:pt>
                <c:pt idx="1759">
                  <c:v>31.203113999999999</c:v>
                </c:pt>
                <c:pt idx="1760">
                  <c:v>30.398426000000001</c:v>
                </c:pt>
                <c:pt idx="1761">
                  <c:v>28.796863999999999</c:v>
                </c:pt>
                <c:pt idx="1762">
                  <c:v>27.49999</c:v>
                </c:pt>
                <c:pt idx="1763">
                  <c:v>26.49999</c:v>
                </c:pt>
                <c:pt idx="1764">
                  <c:v>26.703115</c:v>
                </c:pt>
                <c:pt idx="1765">
                  <c:v>27.796865</c:v>
                </c:pt>
                <c:pt idx="1766">
                  <c:v>29.296863999999999</c:v>
                </c:pt>
                <c:pt idx="1767">
                  <c:v>30.796863999999999</c:v>
                </c:pt>
                <c:pt idx="1768">
                  <c:v>30.398426000000001</c:v>
                </c:pt>
                <c:pt idx="1769">
                  <c:v>27.99999</c:v>
                </c:pt>
                <c:pt idx="1770">
                  <c:v>23.601552999999999</c:v>
                </c:pt>
                <c:pt idx="1771">
                  <c:v>18.296866999999999</c:v>
                </c:pt>
                <c:pt idx="1772">
                  <c:v>12.70312</c:v>
                </c:pt>
                <c:pt idx="1773">
                  <c:v>6.8984351000000004</c:v>
                </c:pt>
                <c:pt idx="1774">
                  <c:v>3.7031236000000001</c:v>
                </c:pt>
                <c:pt idx="1775">
                  <c:v>1.2031244999999999</c:v>
                </c:pt>
                <c:pt idx="1776">
                  <c:v>0.79687470000000005</c:v>
                </c:pt>
                <c:pt idx="1777">
                  <c:v>0.49999981999999998</c:v>
                </c:pt>
                <c:pt idx="1778">
                  <c:v>0</c:v>
                </c:pt>
                <c:pt idx="1779">
                  <c:v>0</c:v>
                </c:pt>
                <c:pt idx="1780">
                  <c:v>0</c:v>
                </c:pt>
                <c:pt idx="1781">
                  <c:v>0</c:v>
                </c:pt>
                <c:pt idx="1782">
                  <c:v>0</c:v>
                </c:pt>
                <c:pt idx="1783">
                  <c:v>0</c:v>
                </c:pt>
                <c:pt idx="1784">
                  <c:v>0</c:v>
                </c:pt>
                <c:pt idx="1785">
                  <c:v>1.3984369999999999</c:v>
                </c:pt>
                <c:pt idx="1786">
                  <c:v>3.7031236000000001</c:v>
                </c:pt>
                <c:pt idx="1787">
                  <c:v>6.3984351000000004</c:v>
                </c:pt>
                <c:pt idx="1788">
                  <c:v>8.7031220999999999</c:v>
                </c:pt>
                <c:pt idx="1789">
                  <c:v>10.999995999999999</c:v>
                </c:pt>
                <c:pt idx="1790">
                  <c:v>11.398434</c:v>
                </c:pt>
                <c:pt idx="1791">
                  <c:v>10.398434</c:v>
                </c:pt>
                <c:pt idx="1792">
                  <c:v>9.8984337</c:v>
                </c:pt>
                <c:pt idx="1793">
                  <c:v>9.2031212</c:v>
                </c:pt>
                <c:pt idx="1794">
                  <c:v>7.7031220999999999</c:v>
                </c:pt>
                <c:pt idx="1795">
                  <c:v>5.8984351000000004</c:v>
                </c:pt>
                <c:pt idx="1796">
                  <c:v>5.9999976000000004</c:v>
                </c:pt>
                <c:pt idx="1797">
                  <c:v>6.3984351000000004</c:v>
                </c:pt>
                <c:pt idx="1798">
                  <c:v>7.7031220999999999</c:v>
                </c:pt>
                <c:pt idx="1799">
                  <c:v>9.9999962</c:v>
                </c:pt>
                <c:pt idx="1800">
                  <c:v>12.898433000000001</c:v>
                </c:pt>
                <c:pt idx="1801">
                  <c:v>14.499993999999999</c:v>
                </c:pt>
                <c:pt idx="1802">
                  <c:v>17.101557</c:v>
                </c:pt>
                <c:pt idx="1803">
                  <c:v>18.101555000000001</c:v>
                </c:pt>
                <c:pt idx="1804">
                  <c:v>18.296866999999999</c:v>
                </c:pt>
                <c:pt idx="1805">
                  <c:v>18.601555000000001</c:v>
                </c:pt>
                <c:pt idx="1806">
                  <c:v>19.203116999999999</c:v>
                </c:pt>
                <c:pt idx="1807">
                  <c:v>19.999991999999999</c:v>
                </c:pt>
                <c:pt idx="1808">
                  <c:v>20.703116999999999</c:v>
                </c:pt>
                <c:pt idx="1809">
                  <c:v>21.499991999999999</c:v>
                </c:pt>
                <c:pt idx="1810">
                  <c:v>21.999991999999999</c:v>
                </c:pt>
                <c:pt idx="1811">
                  <c:v>22.203116999999999</c:v>
                </c:pt>
                <c:pt idx="1812">
                  <c:v>22.601555000000001</c:v>
                </c:pt>
                <c:pt idx="1813">
                  <c:v>23.101552999999999</c:v>
                </c:pt>
                <c:pt idx="1814">
                  <c:v>24.49999</c:v>
                </c:pt>
                <c:pt idx="1815">
                  <c:v>25.99999</c:v>
                </c:pt>
                <c:pt idx="1816">
                  <c:v>26.203115</c:v>
                </c:pt>
                <c:pt idx="1817">
                  <c:v>25.203115</c:v>
                </c:pt>
                <c:pt idx="1818">
                  <c:v>22.796866999999999</c:v>
                </c:pt>
                <c:pt idx="1819">
                  <c:v>17.796869000000001</c:v>
                </c:pt>
                <c:pt idx="1820">
                  <c:v>12.999995</c:v>
                </c:pt>
                <c:pt idx="1821">
                  <c:v>7.7031220999999999</c:v>
                </c:pt>
                <c:pt idx="1822">
                  <c:v>4.2968735999999996</c:v>
                </c:pt>
                <c:pt idx="1823">
                  <c:v>1.2968744999999999</c:v>
                </c:pt>
                <c:pt idx="1824">
                  <c:v>0.49999981999999998</c:v>
                </c:pt>
                <c:pt idx="1825">
                  <c:v>0.49999981999999998</c:v>
                </c:pt>
                <c:pt idx="1826">
                  <c:v>0</c:v>
                </c:pt>
                <c:pt idx="1827">
                  <c:v>0</c:v>
                </c:pt>
                <c:pt idx="1828">
                  <c:v>0</c:v>
                </c:pt>
                <c:pt idx="1829">
                  <c:v>0</c:v>
                </c:pt>
                <c:pt idx="1830">
                  <c:v>0</c:v>
                </c:pt>
                <c:pt idx="1831">
                  <c:v>0</c:v>
                </c:pt>
                <c:pt idx="1832">
                  <c:v>0</c:v>
                </c:pt>
                <c:pt idx="1833">
                  <c:v>3.1015613000000002</c:v>
                </c:pt>
                <c:pt idx="1834">
                  <c:v>6.9999976000000004</c:v>
                </c:pt>
                <c:pt idx="1835">
                  <c:v>10.398434</c:v>
                </c:pt>
                <c:pt idx="1836">
                  <c:v>11.499995</c:v>
                </c:pt>
                <c:pt idx="1837">
                  <c:v>12.70312</c:v>
                </c:pt>
                <c:pt idx="1838">
                  <c:v>13.499995</c:v>
                </c:pt>
                <c:pt idx="1839">
                  <c:v>13.898433000000001</c:v>
                </c:pt>
                <c:pt idx="1840">
                  <c:v>13.999995</c:v>
                </c:pt>
                <c:pt idx="1841">
                  <c:v>13.70312</c:v>
                </c:pt>
                <c:pt idx="1842">
                  <c:v>13.499995</c:v>
                </c:pt>
                <c:pt idx="1843">
                  <c:v>12.999995</c:v>
                </c:pt>
                <c:pt idx="1844">
                  <c:v>12.601558000000001</c:v>
                </c:pt>
                <c:pt idx="1845">
                  <c:v>12.20312</c:v>
                </c:pt>
                <c:pt idx="1846">
                  <c:v>11.70312</c:v>
                </c:pt>
                <c:pt idx="1847">
                  <c:v>11.601558000000001</c:v>
                </c:pt>
                <c:pt idx="1848">
                  <c:v>12.398433000000001</c:v>
                </c:pt>
                <c:pt idx="1849">
                  <c:v>14.101557</c:v>
                </c:pt>
                <c:pt idx="1850">
                  <c:v>16.703119000000001</c:v>
                </c:pt>
                <c:pt idx="1851">
                  <c:v>19.796866999999999</c:v>
                </c:pt>
                <c:pt idx="1852">
                  <c:v>22.499991999999999</c:v>
                </c:pt>
                <c:pt idx="1853">
                  <c:v>25.296865</c:v>
                </c:pt>
                <c:pt idx="1854">
                  <c:v>27.101552999999999</c:v>
                </c:pt>
                <c:pt idx="1855">
                  <c:v>29.101551000000001</c:v>
                </c:pt>
                <c:pt idx="1856">
                  <c:v>31.101551000000001</c:v>
                </c:pt>
                <c:pt idx="1857">
                  <c:v>32.203113999999999</c:v>
                </c:pt>
                <c:pt idx="1858">
                  <c:v>32.601551000000001</c:v>
                </c:pt>
                <c:pt idx="1859">
                  <c:v>32.296863999999999</c:v>
                </c:pt>
                <c:pt idx="1860">
                  <c:v>31.601551000000001</c:v>
                </c:pt>
                <c:pt idx="1861">
                  <c:v>30.398426000000001</c:v>
                </c:pt>
                <c:pt idx="1862">
                  <c:v>29.499988999999999</c:v>
                </c:pt>
                <c:pt idx="1863">
                  <c:v>28.499988999999999</c:v>
                </c:pt>
                <c:pt idx="1864">
                  <c:v>27.296865</c:v>
                </c:pt>
                <c:pt idx="1865">
                  <c:v>25.703115</c:v>
                </c:pt>
                <c:pt idx="1866">
                  <c:v>23.99999</c:v>
                </c:pt>
                <c:pt idx="1867">
                  <c:v>22.101555000000001</c:v>
                </c:pt>
                <c:pt idx="1868">
                  <c:v>18.203116999999999</c:v>
                </c:pt>
                <c:pt idx="1869">
                  <c:v>14.796868999999999</c:v>
                </c:pt>
                <c:pt idx="1870">
                  <c:v>10.601559</c:v>
                </c:pt>
                <c:pt idx="1871">
                  <c:v>9.2031212</c:v>
                </c:pt>
                <c:pt idx="1872">
                  <c:v>8.6015595999999999</c:v>
                </c:pt>
                <c:pt idx="1873">
                  <c:v>8.6015595999999999</c:v>
                </c:pt>
                <c:pt idx="1874">
                  <c:v>10.101559</c:v>
                </c:pt>
                <c:pt idx="1875">
                  <c:v>12.398433000000001</c:v>
                </c:pt>
                <c:pt idx="1876">
                  <c:v>13.999995</c:v>
                </c:pt>
                <c:pt idx="1877">
                  <c:v>15.601557</c:v>
                </c:pt>
                <c:pt idx="1878">
                  <c:v>17.499994000000001</c:v>
                </c:pt>
                <c:pt idx="1879">
                  <c:v>19.601555000000001</c:v>
                </c:pt>
                <c:pt idx="1880">
                  <c:v>22.203116999999999</c:v>
                </c:pt>
                <c:pt idx="1881">
                  <c:v>22.99999</c:v>
                </c:pt>
                <c:pt idx="1882">
                  <c:v>22.703116999999999</c:v>
                </c:pt>
                <c:pt idx="1883">
                  <c:v>23.898427999999999</c:v>
                </c:pt>
                <c:pt idx="1884">
                  <c:v>23.601552999999999</c:v>
                </c:pt>
                <c:pt idx="1885">
                  <c:v>22.398430000000001</c:v>
                </c:pt>
                <c:pt idx="1886">
                  <c:v>20.101555000000001</c:v>
                </c:pt>
                <c:pt idx="1887">
                  <c:v>18.398430000000001</c:v>
                </c:pt>
                <c:pt idx="1888">
                  <c:v>16.703119000000001</c:v>
                </c:pt>
                <c:pt idx="1889">
                  <c:v>14.101557</c:v>
                </c:pt>
                <c:pt idx="1890">
                  <c:v>10.898434</c:v>
                </c:pt>
                <c:pt idx="1891">
                  <c:v>7.7031220999999999</c:v>
                </c:pt>
                <c:pt idx="1892">
                  <c:v>3.7968736000000001</c:v>
                </c:pt>
                <c:pt idx="1893">
                  <c:v>1.3984369999999999</c:v>
                </c:pt>
                <c:pt idx="1894">
                  <c:v>0.79687470000000005</c:v>
                </c:pt>
                <c:pt idx="1895">
                  <c:v>0.49999981999999998</c:v>
                </c:pt>
                <c:pt idx="1896">
                  <c:v>0</c:v>
                </c:pt>
                <c:pt idx="1897">
                  <c:v>0</c:v>
                </c:pt>
                <c:pt idx="1898">
                  <c:v>0</c:v>
                </c:pt>
                <c:pt idx="1899">
                  <c:v>0</c:v>
                </c:pt>
                <c:pt idx="1900">
                  <c:v>0</c:v>
                </c:pt>
                <c:pt idx="1901">
                  <c:v>0</c:v>
                </c:pt>
                <c:pt idx="1902">
                  <c:v>0</c:v>
                </c:pt>
                <c:pt idx="1903">
                  <c:v>0</c:v>
                </c:pt>
                <c:pt idx="1904">
                  <c:v>0</c:v>
                </c:pt>
                <c:pt idx="1905">
                  <c:v>0</c:v>
                </c:pt>
                <c:pt idx="1906">
                  <c:v>0</c:v>
                </c:pt>
                <c:pt idx="1907">
                  <c:v>0</c:v>
                </c:pt>
                <c:pt idx="1908">
                  <c:v>0</c:v>
                </c:pt>
                <c:pt idx="1909">
                  <c:v>0</c:v>
                </c:pt>
                <c:pt idx="1910">
                  <c:v>0</c:v>
                </c:pt>
                <c:pt idx="1911">
                  <c:v>0</c:v>
                </c:pt>
                <c:pt idx="1912">
                  <c:v>0</c:v>
                </c:pt>
                <c:pt idx="1913">
                  <c:v>0</c:v>
                </c:pt>
                <c:pt idx="1914">
                  <c:v>0</c:v>
                </c:pt>
                <c:pt idx="1915">
                  <c:v>0</c:v>
                </c:pt>
                <c:pt idx="1916">
                  <c:v>0</c:v>
                </c:pt>
                <c:pt idx="1917">
                  <c:v>0</c:v>
                </c:pt>
                <c:pt idx="1918">
                  <c:v>3.6015611000000001</c:v>
                </c:pt>
                <c:pt idx="1919">
                  <c:v>5.4999981</c:v>
                </c:pt>
                <c:pt idx="1920">
                  <c:v>2.7031239999999999</c:v>
                </c:pt>
                <c:pt idx="1921">
                  <c:v>0.89843713999999997</c:v>
                </c:pt>
                <c:pt idx="1922">
                  <c:v>0.49999981999999998</c:v>
                </c:pt>
                <c:pt idx="1923">
                  <c:v>0</c:v>
                </c:pt>
                <c:pt idx="1924">
                  <c:v>0</c:v>
                </c:pt>
                <c:pt idx="1925">
                  <c:v>0</c:v>
                </c:pt>
                <c:pt idx="1926">
                  <c:v>0.79687470000000005</c:v>
                </c:pt>
                <c:pt idx="1927">
                  <c:v>2.3984364999999999</c:v>
                </c:pt>
                <c:pt idx="1928">
                  <c:v>3.3984363000000002</c:v>
                </c:pt>
                <c:pt idx="1929">
                  <c:v>5.2031231</c:v>
                </c:pt>
                <c:pt idx="1930">
                  <c:v>6.7968726000000004</c:v>
                </c:pt>
                <c:pt idx="1931">
                  <c:v>6.6015601000000004</c:v>
                </c:pt>
                <c:pt idx="1932">
                  <c:v>5.4999981</c:v>
                </c:pt>
                <c:pt idx="1933">
                  <c:v>5.2968731</c:v>
                </c:pt>
                <c:pt idx="1934">
                  <c:v>3.1015613000000002</c:v>
                </c:pt>
                <c:pt idx="1935">
                  <c:v>1.2968744999999999</c:v>
                </c:pt>
                <c:pt idx="1936">
                  <c:v>0.49999981999999998</c:v>
                </c:pt>
                <c:pt idx="1937">
                  <c:v>0</c:v>
                </c:pt>
                <c:pt idx="1938">
                  <c:v>0</c:v>
                </c:pt>
                <c:pt idx="1939">
                  <c:v>0</c:v>
                </c:pt>
                <c:pt idx="1940">
                  <c:v>0</c:v>
                </c:pt>
                <c:pt idx="1941">
                  <c:v>0</c:v>
                </c:pt>
                <c:pt idx="1942">
                  <c:v>0</c:v>
                </c:pt>
                <c:pt idx="1943">
                  <c:v>0</c:v>
                </c:pt>
                <c:pt idx="1944">
                  <c:v>0</c:v>
                </c:pt>
                <c:pt idx="1945">
                  <c:v>0</c:v>
                </c:pt>
                <c:pt idx="1946">
                  <c:v>0</c:v>
                </c:pt>
                <c:pt idx="1947">
                  <c:v>0</c:v>
                </c:pt>
                <c:pt idx="1948">
                  <c:v>0</c:v>
                </c:pt>
                <c:pt idx="1949">
                  <c:v>0</c:v>
                </c:pt>
                <c:pt idx="1950">
                  <c:v>0</c:v>
                </c:pt>
                <c:pt idx="1951">
                  <c:v>0</c:v>
                </c:pt>
                <c:pt idx="1952">
                  <c:v>0</c:v>
                </c:pt>
                <c:pt idx="1953">
                  <c:v>3.2968738000000002</c:v>
                </c:pt>
                <c:pt idx="1954">
                  <c:v>5.2968731</c:v>
                </c:pt>
                <c:pt idx="1955">
                  <c:v>5.2031231</c:v>
                </c:pt>
                <c:pt idx="1956">
                  <c:v>4.9999981</c:v>
                </c:pt>
                <c:pt idx="1957">
                  <c:v>2.3984364999999999</c:v>
                </c:pt>
                <c:pt idx="1958">
                  <c:v>0.89843713999999997</c:v>
                </c:pt>
                <c:pt idx="1959">
                  <c:v>0.49999981999999998</c:v>
                </c:pt>
                <c:pt idx="1960">
                  <c:v>0</c:v>
                </c:pt>
                <c:pt idx="1961">
                  <c:v>0</c:v>
                </c:pt>
                <c:pt idx="1962">
                  <c:v>0</c:v>
                </c:pt>
                <c:pt idx="1963">
                  <c:v>0</c:v>
                </c:pt>
                <c:pt idx="1964">
                  <c:v>0</c:v>
                </c:pt>
                <c:pt idx="1965">
                  <c:v>0</c:v>
                </c:pt>
                <c:pt idx="1966">
                  <c:v>0</c:v>
                </c:pt>
                <c:pt idx="1967">
                  <c:v>0</c:v>
                </c:pt>
                <c:pt idx="1968">
                  <c:v>0</c:v>
                </c:pt>
                <c:pt idx="1969">
                  <c:v>0</c:v>
                </c:pt>
                <c:pt idx="1970">
                  <c:v>0</c:v>
                </c:pt>
                <c:pt idx="1971">
                  <c:v>1.2968744999999999</c:v>
                </c:pt>
                <c:pt idx="1972">
                  <c:v>3.2968738000000002</c:v>
                </c:pt>
                <c:pt idx="1973">
                  <c:v>5.7968726000000004</c:v>
                </c:pt>
                <c:pt idx="1974">
                  <c:v>8.2031220999999999</c:v>
                </c:pt>
                <c:pt idx="1975">
                  <c:v>10.703120999999999</c:v>
                </c:pt>
                <c:pt idx="1976">
                  <c:v>13.29687</c:v>
                </c:pt>
                <c:pt idx="1977">
                  <c:v>15.898432</c:v>
                </c:pt>
                <c:pt idx="1978">
                  <c:v>16.398432</c:v>
                </c:pt>
                <c:pt idx="1979">
                  <c:v>12.101558000000001</c:v>
                </c:pt>
                <c:pt idx="1980">
                  <c:v>9.7968712</c:v>
                </c:pt>
                <c:pt idx="1981">
                  <c:v>7.2968720999999999</c:v>
                </c:pt>
                <c:pt idx="1982">
                  <c:v>7.6015595999999999</c:v>
                </c:pt>
                <c:pt idx="1983">
                  <c:v>8.2031220999999999</c:v>
                </c:pt>
                <c:pt idx="1984">
                  <c:v>9.1015587</c:v>
                </c:pt>
                <c:pt idx="1985">
                  <c:v>10.703120999999999</c:v>
                </c:pt>
                <c:pt idx="1986">
                  <c:v>12.79687</c:v>
                </c:pt>
                <c:pt idx="1987">
                  <c:v>14.898432</c:v>
                </c:pt>
                <c:pt idx="1988">
                  <c:v>16.601557</c:v>
                </c:pt>
                <c:pt idx="1989">
                  <c:v>18.296866999999999</c:v>
                </c:pt>
                <c:pt idx="1990">
                  <c:v>18.499991999999999</c:v>
                </c:pt>
                <c:pt idx="1991">
                  <c:v>18.203116999999999</c:v>
                </c:pt>
                <c:pt idx="1992">
                  <c:v>18.296866999999999</c:v>
                </c:pt>
                <c:pt idx="1993">
                  <c:v>19.703116999999999</c:v>
                </c:pt>
                <c:pt idx="1994">
                  <c:v>21.601555000000001</c:v>
                </c:pt>
                <c:pt idx="1995">
                  <c:v>23.49999</c:v>
                </c:pt>
                <c:pt idx="1996">
                  <c:v>24.398427999999999</c:v>
                </c:pt>
                <c:pt idx="1997">
                  <c:v>26.398427999999999</c:v>
                </c:pt>
                <c:pt idx="1998">
                  <c:v>27.203115</c:v>
                </c:pt>
                <c:pt idx="1999">
                  <c:v>27.398427999999999</c:v>
                </c:pt>
                <c:pt idx="2000">
                  <c:v>26.796865</c:v>
                </c:pt>
                <c:pt idx="2001">
                  <c:v>25.796865</c:v>
                </c:pt>
                <c:pt idx="2002">
                  <c:v>24.101552999999999</c:v>
                </c:pt>
                <c:pt idx="2003">
                  <c:v>20.703116999999999</c:v>
                </c:pt>
                <c:pt idx="2004">
                  <c:v>16.898432</c:v>
                </c:pt>
                <c:pt idx="2005">
                  <c:v>12.70312</c:v>
                </c:pt>
                <c:pt idx="2006">
                  <c:v>9.1015587</c:v>
                </c:pt>
                <c:pt idx="2007">
                  <c:v>4.4999981</c:v>
                </c:pt>
                <c:pt idx="2008">
                  <c:v>2.4999989999999999</c:v>
                </c:pt>
                <c:pt idx="2009">
                  <c:v>1.6015619000000001</c:v>
                </c:pt>
                <c:pt idx="2010">
                  <c:v>1.2968744999999999</c:v>
                </c:pt>
                <c:pt idx="2011">
                  <c:v>0.70312476000000002</c:v>
                </c:pt>
                <c:pt idx="2012">
                  <c:v>0.49999981999999998</c:v>
                </c:pt>
                <c:pt idx="2013">
                  <c:v>0</c:v>
                </c:pt>
                <c:pt idx="2014">
                  <c:v>0</c:v>
                </c:pt>
                <c:pt idx="2015">
                  <c:v>0</c:v>
                </c:pt>
                <c:pt idx="2016">
                  <c:v>0</c:v>
                </c:pt>
                <c:pt idx="2017">
                  <c:v>0</c:v>
                </c:pt>
                <c:pt idx="2018">
                  <c:v>0</c:v>
                </c:pt>
                <c:pt idx="2019">
                  <c:v>0</c:v>
                </c:pt>
                <c:pt idx="2020">
                  <c:v>0</c:v>
                </c:pt>
                <c:pt idx="2021">
                  <c:v>0</c:v>
                </c:pt>
                <c:pt idx="2022">
                  <c:v>0</c:v>
                </c:pt>
                <c:pt idx="2023">
                  <c:v>0.79687470000000005</c:v>
                </c:pt>
                <c:pt idx="2024">
                  <c:v>2.8984363000000002</c:v>
                </c:pt>
                <c:pt idx="2025">
                  <c:v>6.3984351000000004</c:v>
                </c:pt>
                <c:pt idx="2026">
                  <c:v>9.6015587</c:v>
                </c:pt>
                <c:pt idx="2027">
                  <c:v>11.70312</c:v>
                </c:pt>
                <c:pt idx="2028">
                  <c:v>13.79687</c:v>
                </c:pt>
                <c:pt idx="2029">
                  <c:v>15.703118999999999</c:v>
                </c:pt>
                <c:pt idx="2030">
                  <c:v>16.499994000000001</c:v>
                </c:pt>
                <c:pt idx="2031">
                  <c:v>17.296869000000001</c:v>
                </c:pt>
                <c:pt idx="2032">
                  <c:v>18.398430000000001</c:v>
                </c:pt>
                <c:pt idx="2033">
                  <c:v>19.898430000000001</c:v>
                </c:pt>
                <c:pt idx="2034">
                  <c:v>21.999991999999999</c:v>
                </c:pt>
                <c:pt idx="2035">
                  <c:v>23.796865</c:v>
                </c:pt>
                <c:pt idx="2036">
                  <c:v>23.398427999999999</c:v>
                </c:pt>
                <c:pt idx="2037">
                  <c:v>20.796866999999999</c:v>
                </c:pt>
                <c:pt idx="2038">
                  <c:v>16.796869000000001</c:v>
                </c:pt>
                <c:pt idx="2039">
                  <c:v>12.999995</c:v>
                </c:pt>
                <c:pt idx="2040">
                  <c:v>10.101559</c:v>
                </c:pt>
                <c:pt idx="2041">
                  <c:v>5.2031231</c:v>
                </c:pt>
                <c:pt idx="2042">
                  <c:v>1.9999993</c:v>
                </c:pt>
                <c:pt idx="2043">
                  <c:v>0.99999963999999997</c:v>
                </c:pt>
                <c:pt idx="2044">
                  <c:v>0.60156226000000002</c:v>
                </c:pt>
                <c:pt idx="2045">
                  <c:v>0.49999981999999998</c:v>
                </c:pt>
                <c:pt idx="2046">
                  <c:v>0</c:v>
                </c:pt>
                <c:pt idx="2047">
                  <c:v>0</c:v>
                </c:pt>
                <c:pt idx="2048">
                  <c:v>0</c:v>
                </c:pt>
                <c:pt idx="2049">
                  <c:v>0</c:v>
                </c:pt>
                <c:pt idx="2050">
                  <c:v>0</c:v>
                </c:pt>
                <c:pt idx="2051">
                  <c:v>0</c:v>
                </c:pt>
                <c:pt idx="2052">
                  <c:v>0</c:v>
                </c:pt>
                <c:pt idx="2053">
                  <c:v>0</c:v>
                </c:pt>
                <c:pt idx="2054">
                  <c:v>0</c:v>
                </c:pt>
                <c:pt idx="2055">
                  <c:v>0</c:v>
                </c:pt>
                <c:pt idx="2056">
                  <c:v>0</c:v>
                </c:pt>
                <c:pt idx="2057">
                  <c:v>0</c:v>
                </c:pt>
                <c:pt idx="2058">
                  <c:v>0</c:v>
                </c:pt>
                <c:pt idx="2059">
                  <c:v>0</c:v>
                </c:pt>
                <c:pt idx="2060">
                  <c:v>0</c:v>
                </c:pt>
                <c:pt idx="2061">
                  <c:v>0</c:v>
                </c:pt>
                <c:pt idx="2062">
                  <c:v>0</c:v>
                </c:pt>
                <c:pt idx="2063">
                  <c:v>0</c:v>
                </c:pt>
                <c:pt idx="2064">
                  <c:v>0</c:v>
                </c:pt>
                <c:pt idx="2065">
                  <c:v>0</c:v>
                </c:pt>
                <c:pt idx="2066">
                  <c:v>0</c:v>
                </c:pt>
                <c:pt idx="2067">
                  <c:v>0</c:v>
                </c:pt>
                <c:pt idx="2068">
                  <c:v>0</c:v>
                </c:pt>
                <c:pt idx="2069">
                  <c:v>0</c:v>
                </c:pt>
                <c:pt idx="2070">
                  <c:v>0</c:v>
                </c:pt>
                <c:pt idx="2071">
                  <c:v>0</c:v>
                </c:pt>
                <c:pt idx="2072">
                  <c:v>0</c:v>
                </c:pt>
                <c:pt idx="2073">
                  <c:v>0</c:v>
                </c:pt>
                <c:pt idx="2074">
                  <c:v>0</c:v>
                </c:pt>
                <c:pt idx="2075">
                  <c:v>0</c:v>
                </c:pt>
                <c:pt idx="2076">
                  <c:v>0</c:v>
                </c:pt>
                <c:pt idx="2077">
                  <c:v>0</c:v>
                </c:pt>
                <c:pt idx="2078">
                  <c:v>0.89843713999999997</c:v>
                </c:pt>
                <c:pt idx="2079">
                  <c:v>4.4999981</c:v>
                </c:pt>
                <c:pt idx="2080">
                  <c:v>8.3984345999999999</c:v>
                </c:pt>
                <c:pt idx="2081">
                  <c:v>10.499995999999999</c:v>
                </c:pt>
                <c:pt idx="2082">
                  <c:v>12.601558000000001</c:v>
                </c:pt>
                <c:pt idx="2083">
                  <c:v>14.999993999999999</c:v>
                </c:pt>
                <c:pt idx="2084">
                  <c:v>17.796869000000001</c:v>
                </c:pt>
                <c:pt idx="2085">
                  <c:v>20.796866999999999</c:v>
                </c:pt>
                <c:pt idx="2086">
                  <c:v>23.796865</c:v>
                </c:pt>
                <c:pt idx="2087">
                  <c:v>26.898427999999999</c:v>
                </c:pt>
                <c:pt idx="2088">
                  <c:v>29.203113999999999</c:v>
                </c:pt>
                <c:pt idx="2089">
                  <c:v>31.101551000000001</c:v>
                </c:pt>
                <c:pt idx="2090">
                  <c:v>29.703113999999999</c:v>
                </c:pt>
                <c:pt idx="2091">
                  <c:v>26.796865</c:v>
                </c:pt>
                <c:pt idx="2092">
                  <c:v>23.796865</c:v>
                </c:pt>
                <c:pt idx="2093">
                  <c:v>20.796866999999999</c:v>
                </c:pt>
                <c:pt idx="2094">
                  <c:v>20.499991999999999</c:v>
                </c:pt>
                <c:pt idx="2095">
                  <c:v>21.296866999999999</c:v>
                </c:pt>
                <c:pt idx="2096">
                  <c:v>22.296866999999999</c:v>
                </c:pt>
                <c:pt idx="2097">
                  <c:v>22.703116999999999</c:v>
                </c:pt>
                <c:pt idx="2098">
                  <c:v>23.898427999999999</c:v>
                </c:pt>
                <c:pt idx="2099">
                  <c:v>24.49999</c:v>
                </c:pt>
                <c:pt idx="2100">
                  <c:v>23.601552999999999</c:v>
                </c:pt>
                <c:pt idx="2101">
                  <c:v>21.101555000000001</c:v>
                </c:pt>
                <c:pt idx="2102">
                  <c:v>18.796866999999999</c:v>
                </c:pt>
                <c:pt idx="2103">
                  <c:v>16.398432</c:v>
                </c:pt>
                <c:pt idx="2104">
                  <c:v>12.499995</c:v>
                </c:pt>
                <c:pt idx="2105">
                  <c:v>8.1015595999999999</c:v>
                </c:pt>
                <c:pt idx="2106">
                  <c:v>5.8984351000000004</c:v>
                </c:pt>
                <c:pt idx="2107">
                  <c:v>4.3984360999999996</c:v>
                </c:pt>
                <c:pt idx="2108">
                  <c:v>1.9999993</c:v>
                </c:pt>
                <c:pt idx="2109">
                  <c:v>0.49999981999999998</c:v>
                </c:pt>
                <c:pt idx="2110">
                  <c:v>0.49999981999999998</c:v>
                </c:pt>
                <c:pt idx="2111">
                  <c:v>0</c:v>
                </c:pt>
                <c:pt idx="2112">
                  <c:v>0</c:v>
                </c:pt>
                <c:pt idx="2113">
                  <c:v>0</c:v>
                </c:pt>
                <c:pt idx="2114">
                  <c:v>0</c:v>
                </c:pt>
                <c:pt idx="2115">
                  <c:v>0</c:v>
                </c:pt>
                <c:pt idx="2116">
                  <c:v>0</c:v>
                </c:pt>
                <c:pt idx="2117">
                  <c:v>0.79687470000000005</c:v>
                </c:pt>
                <c:pt idx="2118">
                  <c:v>3.7968736000000001</c:v>
                </c:pt>
                <c:pt idx="2119">
                  <c:v>7.4999970999999999</c:v>
                </c:pt>
                <c:pt idx="2120">
                  <c:v>9.8984337</c:v>
                </c:pt>
                <c:pt idx="2121">
                  <c:v>11.898433000000001</c:v>
                </c:pt>
                <c:pt idx="2122">
                  <c:v>14.499993999999999</c:v>
                </c:pt>
                <c:pt idx="2123">
                  <c:v>17.601557</c:v>
                </c:pt>
                <c:pt idx="2124">
                  <c:v>20.898430000000001</c:v>
                </c:pt>
                <c:pt idx="2125">
                  <c:v>23.601552999999999</c:v>
                </c:pt>
                <c:pt idx="2126">
                  <c:v>26.898427999999999</c:v>
                </c:pt>
                <c:pt idx="2127">
                  <c:v>28.898426000000001</c:v>
                </c:pt>
                <c:pt idx="2128">
                  <c:v>28.398426000000001</c:v>
                </c:pt>
                <c:pt idx="2129">
                  <c:v>25.49999</c:v>
                </c:pt>
                <c:pt idx="2130">
                  <c:v>21.796866999999999</c:v>
                </c:pt>
                <c:pt idx="2131">
                  <c:v>17.898430000000001</c:v>
                </c:pt>
                <c:pt idx="2132">
                  <c:v>13.999995</c:v>
                </c:pt>
                <c:pt idx="2133">
                  <c:v>9.4999962</c:v>
                </c:pt>
                <c:pt idx="2134">
                  <c:v>4.7968731</c:v>
                </c:pt>
                <c:pt idx="2135">
                  <c:v>1.7031244000000001</c:v>
                </c:pt>
                <c:pt idx="2136">
                  <c:v>0.49999981999999998</c:v>
                </c:pt>
                <c:pt idx="2137">
                  <c:v>0.49999981999999998</c:v>
                </c:pt>
                <c:pt idx="2138">
                  <c:v>0</c:v>
                </c:pt>
                <c:pt idx="2139">
                  <c:v>0</c:v>
                </c:pt>
                <c:pt idx="2140">
                  <c:v>0</c:v>
                </c:pt>
                <c:pt idx="2141">
                  <c:v>0</c:v>
                </c:pt>
                <c:pt idx="2142">
                  <c:v>0</c:v>
                </c:pt>
                <c:pt idx="2143">
                  <c:v>0</c:v>
                </c:pt>
                <c:pt idx="2144">
                  <c:v>0</c:v>
                </c:pt>
                <c:pt idx="2145">
                  <c:v>0</c:v>
                </c:pt>
                <c:pt idx="2146">
                  <c:v>0</c:v>
                </c:pt>
                <c:pt idx="2147">
                  <c:v>0</c:v>
                </c:pt>
                <c:pt idx="2148">
                  <c:v>0</c:v>
                </c:pt>
                <c:pt idx="2149">
                  <c:v>0</c:v>
                </c:pt>
                <c:pt idx="2150">
                  <c:v>1.7031244000000001</c:v>
                </c:pt>
                <c:pt idx="2151">
                  <c:v>4.6015606</c:v>
                </c:pt>
                <c:pt idx="2152">
                  <c:v>7.7968720999999999</c:v>
                </c:pt>
                <c:pt idx="2153">
                  <c:v>10.398434</c:v>
                </c:pt>
                <c:pt idx="2154">
                  <c:v>12.79687</c:v>
                </c:pt>
                <c:pt idx="2155">
                  <c:v>14.999993999999999</c:v>
                </c:pt>
                <c:pt idx="2156">
                  <c:v>17.101557</c:v>
                </c:pt>
                <c:pt idx="2157">
                  <c:v>19.703116999999999</c:v>
                </c:pt>
                <c:pt idx="2158">
                  <c:v>22.101555000000001</c:v>
                </c:pt>
                <c:pt idx="2159">
                  <c:v>24.703115</c:v>
                </c:pt>
                <c:pt idx="2160">
                  <c:v>26.796865</c:v>
                </c:pt>
                <c:pt idx="2161">
                  <c:v>26.49999</c:v>
                </c:pt>
                <c:pt idx="2162">
                  <c:v>23.398427999999999</c:v>
                </c:pt>
                <c:pt idx="2163">
                  <c:v>19.296866999999999</c:v>
                </c:pt>
                <c:pt idx="2164">
                  <c:v>17.101557</c:v>
                </c:pt>
                <c:pt idx="2165">
                  <c:v>17.499994000000001</c:v>
                </c:pt>
                <c:pt idx="2166">
                  <c:v>18.203116999999999</c:v>
                </c:pt>
                <c:pt idx="2167">
                  <c:v>18.796866999999999</c:v>
                </c:pt>
                <c:pt idx="2168">
                  <c:v>19.898430000000001</c:v>
                </c:pt>
                <c:pt idx="2169">
                  <c:v>21.499991999999999</c:v>
                </c:pt>
                <c:pt idx="2170">
                  <c:v>22.898430000000001</c:v>
                </c:pt>
                <c:pt idx="2171">
                  <c:v>24.601552999999999</c:v>
                </c:pt>
                <c:pt idx="2172">
                  <c:v>26.203115</c:v>
                </c:pt>
                <c:pt idx="2173">
                  <c:v>27.796865</c:v>
                </c:pt>
                <c:pt idx="2174">
                  <c:v>29.203113999999999</c:v>
                </c:pt>
                <c:pt idx="2175">
                  <c:v>29.398426000000001</c:v>
                </c:pt>
                <c:pt idx="2176">
                  <c:v>28.398426000000001</c:v>
                </c:pt>
                <c:pt idx="2177">
                  <c:v>26.601552999999999</c:v>
                </c:pt>
                <c:pt idx="2178">
                  <c:v>23.49999</c:v>
                </c:pt>
                <c:pt idx="2179">
                  <c:v>18.898430000000001</c:v>
                </c:pt>
                <c:pt idx="2180">
                  <c:v>14.703118999999999</c:v>
                </c:pt>
                <c:pt idx="2181">
                  <c:v>9.1015587</c:v>
                </c:pt>
                <c:pt idx="2182">
                  <c:v>3.9999986000000001</c:v>
                </c:pt>
                <c:pt idx="2183">
                  <c:v>1.3984369999999999</c:v>
                </c:pt>
                <c:pt idx="2184">
                  <c:v>0.49999981999999998</c:v>
                </c:pt>
                <c:pt idx="2185">
                  <c:v>0.49999981999999998</c:v>
                </c:pt>
                <c:pt idx="2186">
                  <c:v>0</c:v>
                </c:pt>
                <c:pt idx="2187">
                  <c:v>2.1015617999999998</c:v>
                </c:pt>
                <c:pt idx="2188">
                  <c:v>6.1015601000000004</c:v>
                </c:pt>
                <c:pt idx="2189">
                  <c:v>9.3984337</c:v>
                </c:pt>
                <c:pt idx="2190">
                  <c:v>12.398433000000001</c:v>
                </c:pt>
                <c:pt idx="2191">
                  <c:v>13.898433000000001</c:v>
                </c:pt>
                <c:pt idx="2192">
                  <c:v>15.898432</c:v>
                </c:pt>
                <c:pt idx="2193">
                  <c:v>17.999991999999999</c:v>
                </c:pt>
                <c:pt idx="2194">
                  <c:v>20.101555000000001</c:v>
                </c:pt>
                <c:pt idx="2195">
                  <c:v>22.499991999999999</c:v>
                </c:pt>
                <c:pt idx="2196">
                  <c:v>23.898427999999999</c:v>
                </c:pt>
                <c:pt idx="2197">
                  <c:v>23.601552999999999</c:v>
                </c:pt>
                <c:pt idx="2198">
                  <c:v>19.999991999999999</c:v>
                </c:pt>
                <c:pt idx="2199">
                  <c:v>16.296869000000001</c:v>
                </c:pt>
                <c:pt idx="2200">
                  <c:v>12.601558000000001</c:v>
                </c:pt>
                <c:pt idx="2201">
                  <c:v>9.7968712</c:v>
                </c:pt>
                <c:pt idx="2202">
                  <c:v>5.9999976000000004</c:v>
                </c:pt>
                <c:pt idx="2203">
                  <c:v>2.3984364999999999</c:v>
                </c:pt>
                <c:pt idx="2204">
                  <c:v>0.89843713999999997</c:v>
                </c:pt>
                <c:pt idx="2205">
                  <c:v>0.49999981999999998</c:v>
                </c:pt>
                <c:pt idx="2206">
                  <c:v>0</c:v>
                </c:pt>
                <c:pt idx="2207">
                  <c:v>0</c:v>
                </c:pt>
                <c:pt idx="2208">
                  <c:v>0</c:v>
                </c:pt>
                <c:pt idx="2209">
                  <c:v>0</c:v>
                </c:pt>
                <c:pt idx="2210">
                  <c:v>0</c:v>
                </c:pt>
                <c:pt idx="2211">
                  <c:v>0</c:v>
                </c:pt>
                <c:pt idx="2212">
                  <c:v>0</c:v>
                </c:pt>
                <c:pt idx="2213">
                  <c:v>0</c:v>
                </c:pt>
                <c:pt idx="2214">
                  <c:v>0</c:v>
                </c:pt>
                <c:pt idx="2215">
                  <c:v>0</c:v>
                </c:pt>
                <c:pt idx="2216">
                  <c:v>0</c:v>
                </c:pt>
                <c:pt idx="2217">
                  <c:v>0</c:v>
                </c:pt>
                <c:pt idx="2218">
                  <c:v>0</c:v>
                </c:pt>
                <c:pt idx="2219">
                  <c:v>0</c:v>
                </c:pt>
                <c:pt idx="2220">
                  <c:v>0</c:v>
                </c:pt>
                <c:pt idx="2221">
                  <c:v>0</c:v>
                </c:pt>
                <c:pt idx="2222">
                  <c:v>0</c:v>
                </c:pt>
                <c:pt idx="2223">
                  <c:v>0</c:v>
                </c:pt>
                <c:pt idx="2224">
                  <c:v>0</c:v>
                </c:pt>
                <c:pt idx="2225">
                  <c:v>0</c:v>
                </c:pt>
                <c:pt idx="2226">
                  <c:v>0</c:v>
                </c:pt>
                <c:pt idx="2227">
                  <c:v>0</c:v>
                </c:pt>
                <c:pt idx="2228">
                  <c:v>0</c:v>
                </c:pt>
                <c:pt idx="2229">
                  <c:v>0</c:v>
                </c:pt>
                <c:pt idx="2230">
                  <c:v>0</c:v>
                </c:pt>
                <c:pt idx="2231">
                  <c:v>0</c:v>
                </c:pt>
                <c:pt idx="2232">
                  <c:v>0</c:v>
                </c:pt>
                <c:pt idx="2233">
                  <c:v>0</c:v>
                </c:pt>
                <c:pt idx="2234">
                  <c:v>0</c:v>
                </c:pt>
                <c:pt idx="2235">
                  <c:v>3.8984361000000001</c:v>
                </c:pt>
                <c:pt idx="2236">
                  <c:v>7.7968720999999999</c:v>
                </c:pt>
                <c:pt idx="2237">
                  <c:v>10.398434</c:v>
                </c:pt>
                <c:pt idx="2238">
                  <c:v>11.999995</c:v>
                </c:pt>
                <c:pt idx="2239">
                  <c:v>13.70312</c:v>
                </c:pt>
                <c:pt idx="2240">
                  <c:v>15.398432</c:v>
                </c:pt>
                <c:pt idx="2241">
                  <c:v>17.203119000000001</c:v>
                </c:pt>
                <c:pt idx="2242">
                  <c:v>17.203119000000001</c:v>
                </c:pt>
                <c:pt idx="2243">
                  <c:v>17.703119000000001</c:v>
                </c:pt>
                <c:pt idx="2244">
                  <c:v>18.398430000000001</c:v>
                </c:pt>
                <c:pt idx="2245">
                  <c:v>19.796866999999999</c:v>
                </c:pt>
                <c:pt idx="2246">
                  <c:v>21.499991999999999</c:v>
                </c:pt>
                <c:pt idx="2247">
                  <c:v>22.796866999999999</c:v>
                </c:pt>
                <c:pt idx="2248">
                  <c:v>23.703115</c:v>
                </c:pt>
                <c:pt idx="2249">
                  <c:v>24.601552999999999</c:v>
                </c:pt>
                <c:pt idx="2250">
                  <c:v>25.296865</c:v>
                </c:pt>
                <c:pt idx="2251">
                  <c:v>25.898427999999999</c:v>
                </c:pt>
                <c:pt idx="2252">
                  <c:v>26.703115</c:v>
                </c:pt>
                <c:pt idx="2253">
                  <c:v>27.296865</c:v>
                </c:pt>
                <c:pt idx="2254">
                  <c:v>27.796865</c:v>
                </c:pt>
                <c:pt idx="2255">
                  <c:v>27.898427999999999</c:v>
                </c:pt>
                <c:pt idx="2256">
                  <c:v>27.703115</c:v>
                </c:pt>
                <c:pt idx="2257">
                  <c:v>26.601552999999999</c:v>
                </c:pt>
                <c:pt idx="2258">
                  <c:v>24.99999</c:v>
                </c:pt>
                <c:pt idx="2259">
                  <c:v>23.296865</c:v>
                </c:pt>
                <c:pt idx="2260">
                  <c:v>20.999991999999999</c:v>
                </c:pt>
                <c:pt idx="2261">
                  <c:v>19.296866999999999</c:v>
                </c:pt>
                <c:pt idx="2262">
                  <c:v>16.296869000000001</c:v>
                </c:pt>
                <c:pt idx="2263">
                  <c:v>12.999995</c:v>
                </c:pt>
                <c:pt idx="2264">
                  <c:v>10.101559</c:v>
                </c:pt>
                <c:pt idx="2265">
                  <c:v>6.2968726000000004</c:v>
                </c:pt>
                <c:pt idx="2266">
                  <c:v>2.3984364999999999</c:v>
                </c:pt>
                <c:pt idx="2267">
                  <c:v>0.89843713999999997</c:v>
                </c:pt>
                <c:pt idx="2268">
                  <c:v>0.49999981999999998</c:v>
                </c:pt>
                <c:pt idx="2269">
                  <c:v>0</c:v>
                </c:pt>
                <c:pt idx="2270">
                  <c:v>0</c:v>
                </c:pt>
                <c:pt idx="2271">
                  <c:v>0</c:v>
                </c:pt>
                <c:pt idx="2272">
                  <c:v>0</c:v>
                </c:pt>
                <c:pt idx="2273">
                  <c:v>0</c:v>
                </c:pt>
                <c:pt idx="2274">
                  <c:v>0.79687470000000005</c:v>
                </c:pt>
                <c:pt idx="2275">
                  <c:v>2.4999989999999999</c:v>
                </c:pt>
                <c:pt idx="2276">
                  <c:v>5.4999981</c:v>
                </c:pt>
                <c:pt idx="2277">
                  <c:v>8.7031220999999999</c:v>
                </c:pt>
                <c:pt idx="2278">
                  <c:v>11.296870999999999</c:v>
                </c:pt>
                <c:pt idx="2279">
                  <c:v>12.898433000000001</c:v>
                </c:pt>
                <c:pt idx="2280">
                  <c:v>14.203118999999999</c:v>
                </c:pt>
                <c:pt idx="2281">
                  <c:v>15.499993999999999</c:v>
                </c:pt>
                <c:pt idx="2282">
                  <c:v>16.796869000000001</c:v>
                </c:pt>
                <c:pt idx="2283">
                  <c:v>19.101555000000001</c:v>
                </c:pt>
                <c:pt idx="2284">
                  <c:v>21.296866999999999</c:v>
                </c:pt>
                <c:pt idx="2285">
                  <c:v>23.398427999999999</c:v>
                </c:pt>
                <c:pt idx="2286">
                  <c:v>24.99999</c:v>
                </c:pt>
                <c:pt idx="2287">
                  <c:v>24.898427999999999</c:v>
                </c:pt>
                <c:pt idx="2288">
                  <c:v>22.398430000000001</c:v>
                </c:pt>
                <c:pt idx="2289">
                  <c:v>18.499991999999999</c:v>
                </c:pt>
                <c:pt idx="2290">
                  <c:v>13.601558000000001</c:v>
                </c:pt>
                <c:pt idx="2291">
                  <c:v>8.6015595999999999</c:v>
                </c:pt>
                <c:pt idx="2292">
                  <c:v>4.8984356</c:v>
                </c:pt>
                <c:pt idx="2293">
                  <c:v>1.7968743</c:v>
                </c:pt>
                <c:pt idx="2294">
                  <c:v>0.89843713999999997</c:v>
                </c:pt>
                <c:pt idx="2295">
                  <c:v>0.49999981999999998</c:v>
                </c:pt>
                <c:pt idx="2296">
                  <c:v>0</c:v>
                </c:pt>
                <c:pt idx="2297">
                  <c:v>0</c:v>
                </c:pt>
                <c:pt idx="2298">
                  <c:v>0</c:v>
                </c:pt>
                <c:pt idx="2299">
                  <c:v>0</c:v>
                </c:pt>
                <c:pt idx="2300">
                  <c:v>0</c:v>
                </c:pt>
                <c:pt idx="2301">
                  <c:v>0</c:v>
                </c:pt>
                <c:pt idx="2302">
                  <c:v>0</c:v>
                </c:pt>
                <c:pt idx="2303">
                  <c:v>0</c:v>
                </c:pt>
                <c:pt idx="2304">
                  <c:v>0</c:v>
                </c:pt>
                <c:pt idx="2305">
                  <c:v>0</c:v>
                </c:pt>
              </c:numCache>
            </c:numRef>
          </c:yVal>
          <c:smooth val="1"/>
          <c:extLst>
            <c:ext xmlns:c16="http://schemas.microsoft.com/office/drawing/2014/chart" uri="{C3380CC4-5D6E-409C-BE32-E72D297353CC}">
              <c16:uniqueId val="{00000000-CB29-4EE7-8FE9-D6961314BD6E}"/>
            </c:ext>
          </c:extLst>
        </c:ser>
        <c:dLbls>
          <c:showLegendKey val="0"/>
          <c:showVal val="0"/>
          <c:showCatName val="0"/>
          <c:showSerName val="0"/>
          <c:showPercent val="0"/>
          <c:showBubbleSize val="0"/>
        </c:dLbls>
        <c:axId val="-1852594496"/>
        <c:axId val="-1852592320"/>
      </c:scatterChart>
      <c:valAx>
        <c:axId val="-1852594496"/>
        <c:scaling>
          <c:orientation val="minMax"/>
          <c:max val="500"/>
          <c:min val="100"/>
        </c:scaling>
        <c:delete val="1"/>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1" u="none" strike="noStrike" kern="1200" baseline="0">
                    <a:solidFill>
                      <a:schemeClr val="tx1"/>
                    </a:solidFill>
                    <a:latin typeface="+mj-lt"/>
                    <a:ea typeface="+mn-ea"/>
                    <a:cs typeface="Times New Roman" panose="02020603050405020304" pitchFamily="18" charset="0"/>
                  </a:defRPr>
                </a:pPr>
                <a:r>
                  <a:rPr lang="en-GB" dirty="0"/>
                  <a:t>Time</a:t>
                </a:r>
              </a:p>
            </c:rich>
          </c:tx>
          <c:overlay val="0"/>
          <c:spPr>
            <a:noFill/>
            <a:ln>
              <a:noFill/>
            </a:ln>
            <a:effectLst/>
          </c:spPr>
          <c:txPr>
            <a:bodyPr rot="0" spcFirstLastPara="1" vertOverflow="ellipsis" vert="horz" wrap="square" anchor="ctr" anchorCtr="1"/>
            <a:lstStyle/>
            <a:p>
              <a:pPr>
                <a:defRPr sz="1000" b="1" i="1" u="none" strike="noStrike" kern="1200" baseline="0">
                  <a:solidFill>
                    <a:schemeClr val="tx1"/>
                  </a:solidFill>
                  <a:latin typeface="+mj-lt"/>
                  <a:ea typeface="+mn-ea"/>
                  <a:cs typeface="Times New Roman" panose="02020603050405020304" pitchFamily="18" charset="0"/>
                </a:defRPr>
              </a:pPr>
              <a:endParaRPr lang="en-US"/>
            </a:p>
          </c:txPr>
        </c:title>
        <c:numFmt formatCode="General" sourceLinked="1"/>
        <c:majorTickMark val="none"/>
        <c:minorTickMark val="none"/>
        <c:tickLblPos val="nextTo"/>
        <c:crossAx val="-1852592320"/>
        <c:crosses val="autoZero"/>
        <c:crossBetween val="midCat"/>
      </c:valAx>
      <c:valAx>
        <c:axId val="-1852592320"/>
        <c:scaling>
          <c:orientation val="minMax"/>
          <c:max val="60"/>
          <c:min val="0"/>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1" u="none" strike="noStrike" kern="1200" baseline="0">
                    <a:solidFill>
                      <a:schemeClr val="tx1"/>
                    </a:solidFill>
                    <a:latin typeface="+mj-lt"/>
                    <a:ea typeface="+mn-ea"/>
                    <a:cs typeface="Times New Roman" panose="02020603050405020304" pitchFamily="18" charset="0"/>
                  </a:defRPr>
                </a:pPr>
                <a:r>
                  <a:rPr lang="en-GB" dirty="0"/>
                  <a:t>Velocity</a:t>
                </a:r>
              </a:p>
            </c:rich>
          </c:tx>
          <c:overlay val="0"/>
          <c:spPr>
            <a:noFill/>
            <a:ln>
              <a:noFill/>
            </a:ln>
            <a:effectLst/>
          </c:spPr>
          <c:txPr>
            <a:bodyPr rot="-5400000" spcFirstLastPara="1" vertOverflow="ellipsis" vert="horz" wrap="square" anchor="ctr" anchorCtr="1"/>
            <a:lstStyle/>
            <a:p>
              <a:pPr>
                <a:defRPr sz="1000" b="1" i="1" u="none" strike="noStrike" kern="1200" baseline="0">
                  <a:solidFill>
                    <a:schemeClr val="tx1"/>
                  </a:solidFill>
                  <a:latin typeface="+mj-lt"/>
                  <a:ea typeface="+mn-ea"/>
                  <a:cs typeface="Times New Roman" panose="02020603050405020304" pitchFamily="18" charset="0"/>
                </a:defRPr>
              </a:pPr>
              <a:endParaRPr lang="en-US"/>
            </a:p>
          </c:txPr>
        </c:title>
        <c:numFmt formatCode="0" sourceLinked="0"/>
        <c:majorTickMark val="none"/>
        <c:minorTickMark val="none"/>
        <c:tickLblPos val="nextTo"/>
        <c:crossAx val="-1852594496"/>
        <c:crosses val="autoZero"/>
        <c:crossBetween val="midCat"/>
      </c:valAx>
      <c:spPr>
        <a:pattFill prst="dotGrid">
          <a:fgClr>
            <a:schemeClr val="accent1"/>
          </a:fgClr>
          <a:bgClr>
            <a:schemeClr val="bg1"/>
          </a:bgClr>
        </a:pattFill>
        <a:ln w="6350">
          <a:solidFill>
            <a:schemeClr val="tx1"/>
          </a:solidFill>
        </a:ln>
        <a:effectLst/>
      </c:spPr>
    </c:plotArea>
    <c:plotVisOnly val="1"/>
    <c:dispBlanksAs val="gap"/>
    <c:showDLblsOverMax val="0"/>
  </c:chart>
  <c:spPr>
    <a:noFill/>
    <a:ln>
      <a:noFill/>
    </a:ln>
    <a:effectLst/>
  </c:spPr>
  <c:txPr>
    <a:bodyPr/>
    <a:lstStyle/>
    <a:p>
      <a:pPr>
        <a:defRPr sz="1000" b="1" i="1">
          <a:solidFill>
            <a:schemeClr val="tx1"/>
          </a:solidFill>
          <a:latin typeface="+mj-lt"/>
          <a:cs typeface="Times New Roman" panose="020206030504050203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spPr>
            <a:solidFill>
              <a:schemeClr val="accent1"/>
            </a:solidFill>
            <a:ln>
              <a:solidFill>
                <a:schemeClr val="tx1"/>
              </a:solidFill>
            </a:ln>
            <a:effectLst/>
          </c:spPr>
          <c:invertIfNegative val="0"/>
          <c:dPt>
            <c:idx val="0"/>
            <c:invertIfNegative val="0"/>
            <c:bubble3D val="0"/>
            <c:spPr>
              <a:solidFill>
                <a:schemeClr val="bg1">
                  <a:lumMod val="65000"/>
                </a:schemeClr>
              </a:solidFill>
              <a:ln>
                <a:solidFill>
                  <a:schemeClr val="tx1"/>
                </a:solidFill>
              </a:ln>
              <a:effectLst/>
            </c:spPr>
            <c:extLst>
              <c:ext xmlns:c16="http://schemas.microsoft.com/office/drawing/2014/chart" uri="{C3380CC4-5D6E-409C-BE32-E72D297353CC}">
                <c16:uniqueId val="{00000004-3D93-4179-8B1B-4D3249C908D7}"/>
              </c:ext>
            </c:extLst>
          </c:dPt>
          <c:dPt>
            <c:idx val="1"/>
            <c:invertIfNegative val="0"/>
            <c:bubble3D val="0"/>
            <c:spPr>
              <a:solidFill>
                <a:srgbClr val="00B050"/>
              </a:solidFill>
              <a:ln>
                <a:solidFill>
                  <a:schemeClr val="tx1"/>
                </a:solidFill>
              </a:ln>
              <a:effectLst/>
            </c:spPr>
            <c:extLst>
              <c:ext xmlns:c16="http://schemas.microsoft.com/office/drawing/2014/chart" uri="{C3380CC4-5D6E-409C-BE32-E72D297353CC}">
                <c16:uniqueId val="{00000003-3D93-4179-8B1B-4D3249C908D7}"/>
              </c:ext>
            </c:extLst>
          </c:dPt>
          <c:dPt>
            <c:idx val="2"/>
            <c:invertIfNegative val="0"/>
            <c:bubble3D val="0"/>
            <c:spPr>
              <a:solidFill>
                <a:srgbClr val="00B050"/>
              </a:solidFill>
              <a:ln>
                <a:solidFill>
                  <a:schemeClr val="tx1"/>
                </a:solidFill>
              </a:ln>
              <a:effectLst/>
            </c:spPr>
            <c:extLst>
              <c:ext xmlns:c16="http://schemas.microsoft.com/office/drawing/2014/chart" uri="{C3380CC4-5D6E-409C-BE32-E72D297353CC}">
                <c16:uniqueId val="{00000002-3D93-4179-8B1B-4D3249C908D7}"/>
              </c:ext>
            </c:extLst>
          </c:dPt>
          <c:dPt>
            <c:idx val="3"/>
            <c:invertIfNegative val="0"/>
            <c:bubble3D val="0"/>
            <c:spPr>
              <a:solidFill>
                <a:srgbClr val="FFC000"/>
              </a:solidFill>
              <a:ln>
                <a:solidFill>
                  <a:schemeClr val="tx1"/>
                </a:solidFill>
              </a:ln>
              <a:effectLst/>
            </c:spPr>
            <c:extLst>
              <c:ext xmlns:c16="http://schemas.microsoft.com/office/drawing/2014/chart" uri="{C3380CC4-5D6E-409C-BE32-E72D297353CC}">
                <c16:uniqueId val="{00000006-3D93-4179-8B1B-4D3249C908D7}"/>
              </c:ext>
            </c:extLst>
          </c:dPt>
          <c:dPt>
            <c:idx val="4"/>
            <c:invertIfNegative val="0"/>
            <c:bubble3D val="0"/>
            <c:spPr>
              <a:solidFill>
                <a:srgbClr val="FFC000"/>
              </a:solidFill>
              <a:ln>
                <a:solidFill>
                  <a:schemeClr val="tx1"/>
                </a:solidFill>
              </a:ln>
              <a:effectLst/>
            </c:spPr>
            <c:extLst>
              <c:ext xmlns:c16="http://schemas.microsoft.com/office/drawing/2014/chart" uri="{C3380CC4-5D6E-409C-BE32-E72D297353CC}">
                <c16:uniqueId val="{00000005-3D93-4179-8B1B-4D3249C908D7}"/>
              </c:ext>
            </c:extLst>
          </c:dPt>
          <c:cat>
            <c:strRef>
              <c:f>Sheet1!$C$10:$C$14</c:f>
              <c:strCache>
                <c:ptCount val="5"/>
                <c:pt idx="0">
                  <c:v>Diesel</c:v>
                </c:pt>
                <c:pt idx="1">
                  <c:v>FCEV (2024)</c:v>
                </c:pt>
                <c:pt idx="2">
                  <c:v>FCEV (today)</c:v>
                </c:pt>
                <c:pt idx="3">
                  <c:v>EV (larger battery)</c:v>
                </c:pt>
                <c:pt idx="4">
                  <c:v>EV (standard battery)</c:v>
                </c:pt>
              </c:strCache>
            </c:strRef>
          </c:cat>
          <c:val>
            <c:numRef>
              <c:f>Sheet1!$D$10:$D$14</c:f>
              <c:numCache>
                <c:formatCode>General</c:formatCode>
                <c:ptCount val="5"/>
                <c:pt idx="0">
                  <c:v>300</c:v>
                </c:pt>
                <c:pt idx="1">
                  <c:v>300</c:v>
                </c:pt>
                <c:pt idx="2" formatCode="0">
                  <c:v>228.41874909729833</c:v>
                </c:pt>
                <c:pt idx="3" formatCode="0">
                  <c:v>170.37018967898948</c:v>
                </c:pt>
                <c:pt idx="4" formatCode="0">
                  <c:v>136.37235707027418</c:v>
                </c:pt>
              </c:numCache>
            </c:numRef>
          </c:val>
          <c:extLst>
            <c:ext xmlns:c16="http://schemas.microsoft.com/office/drawing/2014/chart" uri="{C3380CC4-5D6E-409C-BE32-E72D297353CC}">
              <c16:uniqueId val="{00000000-3D93-4179-8B1B-4D3249C908D7}"/>
            </c:ext>
          </c:extLst>
        </c:ser>
        <c:dLbls>
          <c:showLegendKey val="0"/>
          <c:showVal val="0"/>
          <c:showCatName val="0"/>
          <c:showSerName val="0"/>
          <c:showPercent val="0"/>
          <c:showBubbleSize val="0"/>
        </c:dLbls>
        <c:gapWidth val="150"/>
        <c:overlap val="100"/>
        <c:axId val="2089448671"/>
        <c:axId val="2089453247"/>
      </c:barChart>
      <c:catAx>
        <c:axId val="2089448671"/>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2089453247"/>
        <c:crosses val="autoZero"/>
        <c:auto val="1"/>
        <c:lblAlgn val="ctr"/>
        <c:lblOffset val="100"/>
        <c:noMultiLvlLbl val="0"/>
      </c:catAx>
      <c:valAx>
        <c:axId val="2089453247"/>
        <c:scaling>
          <c:orientation val="minMax"/>
        </c:scaling>
        <c:delete val="1"/>
        <c:axPos val="b"/>
        <c:title>
          <c:tx>
            <c:rich>
              <a:bodyPr rot="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r>
                  <a:rPr lang="en-GB" sz="1400" b="1" dirty="0"/>
                  <a:t>Simulated range </a:t>
                </a:r>
                <a:br>
                  <a:rPr lang="en-GB" sz="1400" dirty="0"/>
                </a:br>
                <a:r>
                  <a:rPr lang="en-GB" sz="1400" dirty="0"/>
                  <a:t>(winter conditions/urban environment)</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title>
        <c:numFmt formatCode="General" sourceLinked="1"/>
        <c:majorTickMark val="none"/>
        <c:minorTickMark val="none"/>
        <c:tickLblPos val="nextTo"/>
        <c:crossAx val="2089448671"/>
        <c:crosses val="autoZero"/>
        <c:crossBetween val="between"/>
      </c:valAx>
      <c:spPr>
        <a:solidFill>
          <a:schemeClr val="bg1"/>
        </a:solid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3C0F47-80C1-481A-BE44-8B708913FEB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E3BB25A-7078-4BF7-8DCD-ED948810A641}"/>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5332F-7029-4BA2-ADE3-C0FFDD3A9290}" type="datetimeFigureOut">
              <a:rPr lang="en-US" smtClean="0"/>
              <a:t>4/14/2021</a:t>
            </a:fld>
            <a:endParaRPr lang="en-US"/>
          </a:p>
        </p:txBody>
      </p:sp>
      <p:sp>
        <p:nvSpPr>
          <p:cNvPr id="4" name="Slide Image Placeholder 3">
            <a:extLst>
              <a:ext uri="{FF2B5EF4-FFF2-40B4-BE49-F238E27FC236}">
                <a16:creationId xmlns:a16="http://schemas.microsoft.com/office/drawing/2014/main" id="{041CB43C-37B4-40AA-81D0-18524BDE9C9C}"/>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4CC0A096-4CC9-49BD-8404-586330096AE9}"/>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35F1BC49-1C8D-468F-89A0-FADC25CB2C35}"/>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a:extLst>
              <a:ext uri="{FF2B5EF4-FFF2-40B4-BE49-F238E27FC236}">
                <a16:creationId xmlns:a16="http://schemas.microsoft.com/office/drawing/2014/main" id="{D0A49B0F-F93E-444A-86D8-4996EABB58A6}"/>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00A37F-5C0B-4BDA-A759-CD1F7C5DB6BD}"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g5c52d797b2_0_0: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7" name="Google Shape;67;g5c52d797b2_0_0:notes"/>
          <p:cNvSpPr txBox="1">
            <a:spLocks noGrp="1"/>
          </p:cNvSpPr>
          <p:nvPr>
            <p:ph type="body" idx="1"/>
          </p:nvPr>
        </p:nvSpPr>
        <p:spPr>
          <a:xfrm>
            <a:off x="906357" y="4715153"/>
            <a:ext cx="4985100" cy="4467000"/>
          </a:xfrm>
          <a:prstGeom prst="rect">
            <a:avLst/>
          </a:prstGeom>
          <a:noFill/>
          <a:ln>
            <a:noFill/>
          </a:ln>
        </p:spPr>
        <p:txBody>
          <a:bodyPr spcFirstLastPara="1" wrap="square" lIns="91425" tIns="45700" rIns="91425" bIns="45700" anchor="t" anchorCtr="0">
            <a:noAutofit/>
          </a:bodyPr>
          <a:lstStyle/>
          <a:p>
            <a:pPr marL="0" marR="0" lvl="0" indent="0" algn="l" rtl="0">
              <a:lnSpc>
                <a:spcPct val="117999"/>
              </a:lnSpc>
              <a:spcBef>
                <a:spcPts val="0"/>
              </a:spcBef>
              <a:spcAft>
                <a:spcPts val="0"/>
              </a:spcAft>
              <a:buClr>
                <a:srgbClr val="000000"/>
              </a:buClr>
              <a:buSzPts val="1400"/>
              <a:buFont typeface="Arial"/>
              <a:buNone/>
            </a:pPr>
            <a:endParaRPr sz="1200" b="0" i="0" u="none" strike="noStrike" cap="none">
              <a:solidFill>
                <a:srgbClr val="000000"/>
              </a:solidFill>
              <a:latin typeface="Roboto"/>
              <a:ea typeface="Roboto"/>
              <a:cs typeface="Roboto"/>
              <a:sym typeface="Roboto"/>
            </a:endParaRPr>
          </a:p>
        </p:txBody>
      </p:sp>
    </p:spTree>
    <p:extLst>
      <p:ext uri="{BB962C8B-B14F-4D97-AF65-F5344CB8AC3E}">
        <p14:creationId xmlns:p14="http://schemas.microsoft.com/office/powerpoint/2010/main" val="3985122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g5c52d797b2_0_0: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7" name="Google Shape;67;g5c52d797b2_0_0:notes"/>
          <p:cNvSpPr txBox="1">
            <a:spLocks noGrp="1"/>
          </p:cNvSpPr>
          <p:nvPr>
            <p:ph type="body" idx="1"/>
          </p:nvPr>
        </p:nvSpPr>
        <p:spPr>
          <a:xfrm>
            <a:off x="906357" y="4715153"/>
            <a:ext cx="4985100" cy="4467000"/>
          </a:xfrm>
          <a:prstGeom prst="rect">
            <a:avLst/>
          </a:prstGeom>
          <a:noFill/>
          <a:ln>
            <a:noFill/>
          </a:ln>
        </p:spPr>
        <p:txBody>
          <a:bodyPr spcFirstLastPara="1" wrap="square" lIns="91425" tIns="45700" rIns="91425" bIns="45700" anchor="t" anchorCtr="0">
            <a:noAutofit/>
          </a:bodyPr>
          <a:lstStyle/>
          <a:p>
            <a:pPr marL="0" marR="0" lvl="0" indent="0" algn="l" rtl="0">
              <a:lnSpc>
                <a:spcPct val="117999"/>
              </a:lnSpc>
              <a:spcBef>
                <a:spcPts val="0"/>
              </a:spcBef>
              <a:spcAft>
                <a:spcPts val="0"/>
              </a:spcAft>
              <a:buClr>
                <a:srgbClr val="000000"/>
              </a:buClr>
              <a:buSzPts val="1400"/>
              <a:buFont typeface="Arial"/>
              <a:buNone/>
            </a:pPr>
            <a:endParaRPr sz="1200" b="0" i="0" u="none" strike="noStrike" cap="none">
              <a:solidFill>
                <a:srgbClr val="000000"/>
              </a:solidFill>
              <a:latin typeface="Roboto"/>
              <a:ea typeface="Roboto"/>
              <a:cs typeface="Roboto"/>
              <a:sym typeface="Roboto"/>
            </a:endParaRPr>
          </a:p>
        </p:txBody>
      </p:sp>
    </p:spTree>
    <p:extLst>
      <p:ext uri="{BB962C8B-B14F-4D97-AF65-F5344CB8AC3E}">
        <p14:creationId xmlns:p14="http://schemas.microsoft.com/office/powerpoint/2010/main" val="3985122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g5c52d797b2_0_0: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7" name="Google Shape;67;g5c52d797b2_0_0:notes"/>
          <p:cNvSpPr txBox="1">
            <a:spLocks noGrp="1"/>
          </p:cNvSpPr>
          <p:nvPr>
            <p:ph type="body" idx="1"/>
          </p:nvPr>
        </p:nvSpPr>
        <p:spPr>
          <a:xfrm>
            <a:off x="906357" y="4715153"/>
            <a:ext cx="4985100" cy="4467000"/>
          </a:xfrm>
          <a:prstGeom prst="rect">
            <a:avLst/>
          </a:prstGeom>
          <a:noFill/>
          <a:ln>
            <a:noFill/>
          </a:ln>
        </p:spPr>
        <p:txBody>
          <a:bodyPr spcFirstLastPara="1" wrap="square" lIns="91425" tIns="45700" rIns="91425" bIns="45700" anchor="t" anchorCtr="0">
            <a:noAutofit/>
          </a:bodyPr>
          <a:lstStyle/>
          <a:p>
            <a:pPr marL="0" marR="0" lvl="0" indent="0" algn="l" rtl="0">
              <a:lnSpc>
                <a:spcPct val="117999"/>
              </a:lnSpc>
              <a:spcBef>
                <a:spcPts val="0"/>
              </a:spcBef>
              <a:spcAft>
                <a:spcPts val="0"/>
              </a:spcAft>
              <a:buClr>
                <a:srgbClr val="000000"/>
              </a:buClr>
              <a:buSzPts val="1400"/>
              <a:buFont typeface="Arial"/>
              <a:buNone/>
            </a:pPr>
            <a:endParaRPr sz="1200" b="0" i="0" u="none" strike="noStrike" cap="none">
              <a:solidFill>
                <a:srgbClr val="000000"/>
              </a:solidFill>
              <a:latin typeface="Roboto"/>
              <a:ea typeface="Roboto"/>
              <a:cs typeface="Roboto"/>
              <a:sym typeface="Roboto"/>
            </a:endParaRPr>
          </a:p>
        </p:txBody>
      </p:sp>
    </p:spTree>
    <p:extLst>
      <p:ext uri="{BB962C8B-B14F-4D97-AF65-F5344CB8AC3E}">
        <p14:creationId xmlns:p14="http://schemas.microsoft.com/office/powerpoint/2010/main" val="984209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g5c52d797b2_0_0: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7" name="Google Shape;67;g5c52d797b2_0_0:notes"/>
          <p:cNvSpPr txBox="1">
            <a:spLocks noGrp="1"/>
          </p:cNvSpPr>
          <p:nvPr>
            <p:ph type="body" idx="1"/>
          </p:nvPr>
        </p:nvSpPr>
        <p:spPr>
          <a:xfrm>
            <a:off x="906357" y="4715153"/>
            <a:ext cx="4985100" cy="4467000"/>
          </a:xfrm>
          <a:prstGeom prst="rect">
            <a:avLst/>
          </a:prstGeom>
          <a:noFill/>
          <a:ln>
            <a:noFill/>
          </a:ln>
        </p:spPr>
        <p:txBody>
          <a:bodyPr spcFirstLastPara="1" wrap="square" lIns="91425" tIns="45700" rIns="91425" bIns="45700" anchor="t" anchorCtr="0">
            <a:noAutofit/>
          </a:bodyPr>
          <a:lstStyle/>
          <a:p>
            <a:pPr marL="0" marR="0" lvl="0" indent="0" algn="l" rtl="0">
              <a:lnSpc>
                <a:spcPct val="117999"/>
              </a:lnSpc>
              <a:spcBef>
                <a:spcPts val="0"/>
              </a:spcBef>
              <a:spcAft>
                <a:spcPts val="0"/>
              </a:spcAft>
              <a:buClr>
                <a:srgbClr val="000000"/>
              </a:buClr>
              <a:buSzPts val="1400"/>
              <a:buFont typeface="Arial"/>
              <a:buNone/>
            </a:pPr>
            <a:endParaRPr sz="1200" b="0" i="0" u="none" strike="noStrike" cap="none">
              <a:solidFill>
                <a:srgbClr val="000000"/>
              </a:solidFill>
              <a:latin typeface="Roboto"/>
              <a:ea typeface="Roboto"/>
              <a:cs typeface="Roboto"/>
              <a:sym typeface="Roboto"/>
            </a:endParaRPr>
          </a:p>
        </p:txBody>
      </p:sp>
    </p:spTree>
    <p:extLst>
      <p:ext uri="{BB962C8B-B14F-4D97-AF65-F5344CB8AC3E}">
        <p14:creationId xmlns:p14="http://schemas.microsoft.com/office/powerpoint/2010/main" val="2812733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g5c52d797b2_0_0: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7" name="Google Shape;67;g5c52d797b2_0_0:notes"/>
          <p:cNvSpPr txBox="1">
            <a:spLocks noGrp="1"/>
          </p:cNvSpPr>
          <p:nvPr>
            <p:ph type="body" idx="1"/>
          </p:nvPr>
        </p:nvSpPr>
        <p:spPr>
          <a:xfrm>
            <a:off x="906357" y="4715153"/>
            <a:ext cx="4985100" cy="4467000"/>
          </a:xfrm>
          <a:prstGeom prst="rect">
            <a:avLst/>
          </a:prstGeom>
          <a:noFill/>
          <a:ln>
            <a:noFill/>
          </a:ln>
        </p:spPr>
        <p:txBody>
          <a:bodyPr spcFirstLastPara="1" wrap="square" lIns="91425" tIns="45700" rIns="91425" bIns="45700" anchor="t" anchorCtr="0">
            <a:noAutofit/>
          </a:bodyPr>
          <a:lstStyle/>
          <a:p>
            <a:pPr marL="0" marR="0" lvl="0" indent="0" algn="l" rtl="0">
              <a:lnSpc>
                <a:spcPct val="117999"/>
              </a:lnSpc>
              <a:spcBef>
                <a:spcPts val="0"/>
              </a:spcBef>
              <a:spcAft>
                <a:spcPts val="0"/>
              </a:spcAft>
              <a:buClr>
                <a:srgbClr val="000000"/>
              </a:buClr>
              <a:buSzPts val="1400"/>
              <a:buFont typeface="Arial"/>
              <a:buNone/>
            </a:pPr>
            <a:endParaRPr sz="1200" b="0" i="0" u="none" strike="noStrike" cap="none">
              <a:solidFill>
                <a:srgbClr val="000000"/>
              </a:solidFill>
              <a:latin typeface="Roboto"/>
              <a:ea typeface="Roboto"/>
              <a:cs typeface="Roboto"/>
              <a:sym typeface="Roboto"/>
            </a:endParaRPr>
          </a:p>
        </p:txBody>
      </p:sp>
    </p:spTree>
    <p:extLst>
      <p:ext uri="{BB962C8B-B14F-4D97-AF65-F5344CB8AC3E}">
        <p14:creationId xmlns:p14="http://schemas.microsoft.com/office/powerpoint/2010/main" val="2005052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C6BAB-D346-43E9-831A-2CCBA73FE426}"/>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F2EE452D-24FC-49FE-8E9D-03A4DD568B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525388FE-F2DB-4352-BC41-B31C491D7ECC}"/>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5" name="Footer Placeholder 4">
            <a:extLst>
              <a:ext uri="{FF2B5EF4-FFF2-40B4-BE49-F238E27FC236}">
                <a16:creationId xmlns:a16="http://schemas.microsoft.com/office/drawing/2014/main" id="{9F718205-3CB9-4765-9E09-004B9AAFFE81}"/>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963757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C7868-31BF-40E8-9C15-E3F019506F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D6CA44A-CDCE-4B12-8903-B21BA4EB5E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3EB47D-4C91-43CE-9919-9371C36E0982}"/>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5" name="Footer Placeholder 4">
            <a:extLst>
              <a:ext uri="{FF2B5EF4-FFF2-40B4-BE49-F238E27FC236}">
                <a16:creationId xmlns:a16="http://schemas.microsoft.com/office/drawing/2014/main" id="{3623E4F9-3E57-427F-AF62-2A763D29B7FD}"/>
              </a:ext>
            </a:extLst>
          </p:cNvPr>
          <p:cNvSpPr>
            <a:spLocks noGrp="1"/>
          </p:cNvSpPr>
          <p:nvPr>
            <p:ph type="ftr" sz="quarter" idx="11"/>
          </p:nvPr>
        </p:nvSpPr>
        <p:spPr>
          <a:xfrm>
            <a:off x="4038600" y="6356350"/>
            <a:ext cx="4114800" cy="365125"/>
          </a:xfrm>
          <a:prstGeom prst="rect">
            <a:avLst/>
          </a:prstGeom>
        </p:spPr>
        <p:txBody>
          <a:bodyPr/>
          <a:lstStyle/>
          <a:p>
            <a:endParaRPr lang="en-US"/>
          </a:p>
        </p:txBody>
      </p:sp>
      <p:pic>
        <p:nvPicPr>
          <p:cNvPr id="7" name="Picture 7">
            <a:extLst>
              <a:ext uri="{FF2B5EF4-FFF2-40B4-BE49-F238E27FC236}">
                <a16:creationId xmlns:a16="http://schemas.microsoft.com/office/drawing/2014/main" id="{DD8C9BC9-6CE0-41C9-A4D1-71ED01B01DB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9354049" y="6019006"/>
            <a:ext cx="2417763" cy="674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7421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BA12DA-8E8B-4D89-9F89-D77FB6A18A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194987-01F2-4AFE-8D45-2CDBCFEABC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485B0D-A892-436C-863B-4E09090F9D08}"/>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5" name="Footer Placeholder 4">
            <a:extLst>
              <a:ext uri="{FF2B5EF4-FFF2-40B4-BE49-F238E27FC236}">
                <a16:creationId xmlns:a16="http://schemas.microsoft.com/office/drawing/2014/main" id="{EC73745B-D3ED-46AC-8CD5-C668D55FED9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3BFD1EA-CA40-4D03-A1A6-6401921EA4F2}"/>
              </a:ext>
            </a:extLst>
          </p:cNvPr>
          <p:cNvSpPr>
            <a:spLocks noGrp="1"/>
          </p:cNvSpPr>
          <p:nvPr>
            <p:ph type="sldNum" sz="quarter" idx="12"/>
          </p:nvPr>
        </p:nvSpPr>
        <p:spPr>
          <a:xfrm>
            <a:off x="8610600" y="6356350"/>
            <a:ext cx="2743200" cy="365125"/>
          </a:xfrm>
          <a:prstGeom prst="rect">
            <a:avLst/>
          </a:prstGeom>
        </p:spPr>
        <p:txBody>
          <a:bodyPr/>
          <a:lstStyle/>
          <a:p>
            <a:fld id="{3495AE68-0191-4347-9CB0-C24E8CE96BE4}" type="slidenum">
              <a:rPr lang="en-US" smtClean="0"/>
              <a:t>‹#›</a:t>
            </a:fld>
            <a:endParaRPr lang="en-US"/>
          </a:p>
        </p:txBody>
      </p:sp>
    </p:spTree>
    <p:extLst>
      <p:ext uri="{BB962C8B-B14F-4D97-AF65-F5344CB8AC3E}">
        <p14:creationId xmlns:p14="http://schemas.microsoft.com/office/powerpoint/2010/main" val="1267680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Contents" type="tx">
  <p:cSld name="Contents">
    <p:spTree>
      <p:nvGrpSpPr>
        <p:cNvPr id="1" name="Shape 22"/>
        <p:cNvGrpSpPr/>
        <p:nvPr/>
      </p:nvGrpSpPr>
      <p:grpSpPr>
        <a:xfrm>
          <a:off x="0" y="0"/>
          <a:ext cx="0" cy="0"/>
          <a:chOff x="0" y="0"/>
          <a:chExt cx="0" cy="0"/>
        </a:xfrm>
      </p:grpSpPr>
      <p:sp>
        <p:nvSpPr>
          <p:cNvPr id="23" name="Google Shape;23;p6"/>
          <p:cNvSpPr txBox="1">
            <a:spLocks noGrp="1"/>
          </p:cNvSpPr>
          <p:nvPr>
            <p:ph type="title"/>
          </p:nvPr>
        </p:nvSpPr>
        <p:spPr>
          <a:xfrm>
            <a:off x="506249" y="379687"/>
            <a:ext cx="7256000" cy="1984800"/>
          </a:xfrm>
          <a:prstGeom prst="rect">
            <a:avLst/>
          </a:prstGeom>
          <a:noFill/>
          <a:ln>
            <a:noFill/>
          </a:ln>
        </p:spPr>
        <p:txBody>
          <a:bodyPr spcFirstLastPara="1" wrap="square" lIns="91425" tIns="91425" rIns="91425" bIns="91425" anchor="t" anchorCtr="0"/>
          <a:lstStyle>
            <a:lvl1pPr marR="0" lvl="0" algn="l" rtl="0">
              <a:lnSpc>
                <a:spcPct val="120000"/>
              </a:lnSpc>
              <a:spcBef>
                <a:spcPts val="0"/>
              </a:spcBef>
              <a:spcAft>
                <a:spcPts val="0"/>
              </a:spcAft>
              <a:buClr>
                <a:srgbClr val="412341"/>
              </a:buClr>
              <a:buSzPts val="3867"/>
              <a:buFont typeface="Roboto Light"/>
              <a:buNone/>
              <a:defRPr sz="3866" b="0" i="0" u="none" strike="noStrike" cap="none">
                <a:solidFill>
                  <a:srgbClr val="412341"/>
                </a:solidFill>
                <a:latin typeface="Roboto Light"/>
                <a:ea typeface="Roboto Light"/>
                <a:cs typeface="Roboto Light"/>
                <a:sym typeface="Roboto Light"/>
              </a:defRPr>
            </a:lvl1pPr>
            <a:lvl2pPr marR="0" lvl="1"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2pPr>
            <a:lvl3pPr marR="0" lvl="2"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3pPr>
            <a:lvl4pPr marR="0" lvl="3"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4pPr>
            <a:lvl5pPr marR="0" lvl="4"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5pPr>
            <a:lvl6pPr marR="0" lvl="5"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6pPr>
            <a:lvl7pPr marR="0" lvl="6"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7pPr>
            <a:lvl8pPr marR="0" lvl="7"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8pPr>
            <a:lvl9pPr marR="0" lvl="8" algn="l" rtl="0">
              <a:lnSpc>
                <a:spcPct val="100000"/>
              </a:lnSpc>
              <a:spcBef>
                <a:spcPts val="0"/>
              </a:spcBef>
              <a:spcAft>
                <a:spcPts val="0"/>
              </a:spcAft>
              <a:buClr>
                <a:srgbClr val="FFFFFF"/>
              </a:buClr>
              <a:buSzPts val="6047"/>
              <a:buFont typeface="Roboto Light"/>
              <a:buNone/>
              <a:defRPr sz="6047" b="0" i="0" u="none" strike="noStrike" cap="none">
                <a:solidFill>
                  <a:srgbClr val="FFFFFF"/>
                </a:solidFill>
                <a:latin typeface="Roboto Light"/>
                <a:ea typeface="Roboto Light"/>
                <a:cs typeface="Roboto Light"/>
                <a:sym typeface="Roboto Light"/>
              </a:defRPr>
            </a:lvl9pPr>
          </a:lstStyle>
          <a:p>
            <a:endParaRPr/>
          </a:p>
        </p:txBody>
      </p:sp>
      <p:sp>
        <p:nvSpPr>
          <p:cNvPr id="24" name="Google Shape;24;p6"/>
          <p:cNvSpPr txBox="1">
            <a:spLocks noGrp="1"/>
          </p:cNvSpPr>
          <p:nvPr>
            <p:ph type="body" idx="1"/>
          </p:nvPr>
        </p:nvSpPr>
        <p:spPr>
          <a:xfrm>
            <a:off x="518155" y="1446610"/>
            <a:ext cx="8519200" cy="3289800"/>
          </a:xfrm>
          <a:prstGeom prst="rect">
            <a:avLst/>
          </a:prstGeom>
          <a:noFill/>
          <a:ln>
            <a:noFill/>
          </a:ln>
        </p:spPr>
        <p:txBody>
          <a:bodyPr spcFirstLastPara="1" wrap="square" lIns="91425" tIns="91425" rIns="91425" bIns="91425" anchor="t" anchorCtr="0"/>
          <a:lstStyle>
            <a:lvl1pPr marL="457200" marR="0" lvl="0" indent="-228600" algn="l" rtl="0">
              <a:lnSpc>
                <a:spcPct val="120000"/>
              </a:lnSpc>
              <a:spcBef>
                <a:spcPts val="0"/>
              </a:spcBef>
              <a:spcAft>
                <a:spcPts val="0"/>
              </a:spcAft>
              <a:buClr>
                <a:srgbClr val="412341"/>
              </a:buClr>
              <a:buSzPts val="1547"/>
              <a:buFont typeface="Roboto"/>
              <a:buNone/>
              <a:defRPr sz="1547" b="1" i="0" u="none" strike="noStrike" cap="none">
                <a:solidFill>
                  <a:srgbClr val="412341"/>
                </a:solidFill>
                <a:latin typeface="Roboto"/>
                <a:ea typeface="Roboto"/>
                <a:cs typeface="Roboto"/>
                <a:sym typeface="Roboto"/>
              </a:defRPr>
            </a:lvl1pPr>
            <a:lvl2pPr marL="914400" marR="0" lvl="1" indent="-228600" algn="l" rtl="0">
              <a:lnSpc>
                <a:spcPct val="100000"/>
              </a:lnSpc>
              <a:spcBef>
                <a:spcPts val="0"/>
              </a:spcBef>
              <a:spcAft>
                <a:spcPts val="0"/>
              </a:spcAft>
              <a:buClr>
                <a:srgbClr val="949090"/>
              </a:buClr>
              <a:buSzPts val="1477"/>
              <a:buFont typeface="Roboto Light"/>
              <a:buNone/>
              <a:defRPr sz="1477" b="0" i="0" u="none" strike="noStrike" cap="none">
                <a:solidFill>
                  <a:srgbClr val="949090"/>
                </a:solidFill>
                <a:latin typeface="Roboto Light"/>
                <a:ea typeface="Roboto Light"/>
                <a:cs typeface="Roboto Light"/>
                <a:sym typeface="Roboto Light"/>
              </a:defRPr>
            </a:lvl2pPr>
            <a:lvl3pPr marL="1371600" marR="0" lvl="2" indent="-228600" algn="l" rtl="0">
              <a:lnSpc>
                <a:spcPct val="120000"/>
              </a:lnSpc>
              <a:spcBef>
                <a:spcPts val="0"/>
              </a:spcBef>
              <a:spcAft>
                <a:spcPts val="0"/>
              </a:spcAft>
              <a:buClr>
                <a:srgbClr val="B6BEEF"/>
              </a:buClr>
              <a:buSzPts val="1477"/>
              <a:buFont typeface="Roboto"/>
              <a:buNone/>
              <a:defRPr sz="1477" b="1" i="0" u="none" strike="noStrike" cap="none">
                <a:solidFill>
                  <a:srgbClr val="B6BEEF"/>
                </a:solidFill>
                <a:latin typeface="Roboto"/>
                <a:ea typeface="Roboto"/>
                <a:cs typeface="Roboto"/>
                <a:sym typeface="Roboto"/>
              </a:defRPr>
            </a:lvl3pPr>
            <a:lvl4pPr marL="1828800" marR="0" lvl="3" indent="-228600" algn="l" rtl="0">
              <a:lnSpc>
                <a:spcPct val="100000"/>
              </a:lnSpc>
              <a:spcBef>
                <a:spcPts val="0"/>
              </a:spcBef>
              <a:spcAft>
                <a:spcPts val="0"/>
              </a:spcAft>
              <a:buClr>
                <a:srgbClr val="949090"/>
              </a:buClr>
              <a:buSzPts val="1477"/>
              <a:buFont typeface="Roboto Light"/>
              <a:buNone/>
              <a:defRPr sz="1477" b="0" i="0" u="none" strike="noStrike" cap="none">
                <a:solidFill>
                  <a:srgbClr val="949090"/>
                </a:solidFill>
                <a:latin typeface="Roboto Light"/>
                <a:ea typeface="Roboto Light"/>
                <a:cs typeface="Roboto Light"/>
                <a:sym typeface="Roboto Light"/>
              </a:defRPr>
            </a:lvl4pPr>
            <a:lvl5pPr marL="2286000" marR="0" lvl="4" indent="-228600" algn="l" rtl="0">
              <a:lnSpc>
                <a:spcPct val="100000"/>
              </a:lnSpc>
              <a:spcBef>
                <a:spcPts val="0"/>
              </a:spcBef>
              <a:spcAft>
                <a:spcPts val="0"/>
              </a:spcAft>
              <a:buClr>
                <a:srgbClr val="949090"/>
              </a:buClr>
              <a:buSzPts val="1477"/>
              <a:buFont typeface="Roboto Light"/>
              <a:buNone/>
              <a:defRPr sz="1477" b="0" i="0" u="none" strike="noStrike" cap="none">
                <a:solidFill>
                  <a:srgbClr val="949090"/>
                </a:solidFill>
                <a:latin typeface="Roboto Light"/>
                <a:ea typeface="Roboto Light"/>
                <a:cs typeface="Roboto Light"/>
                <a:sym typeface="Roboto Light"/>
              </a:defRPr>
            </a:lvl5pPr>
            <a:lvl6pPr marL="2743200" marR="0" lvl="5" indent="-228600" algn="l" rtl="0">
              <a:lnSpc>
                <a:spcPct val="150000"/>
              </a:lnSpc>
              <a:spcBef>
                <a:spcPts val="0"/>
              </a:spcBef>
              <a:spcAft>
                <a:spcPts val="0"/>
              </a:spcAft>
              <a:buClr>
                <a:srgbClr val="A79884"/>
              </a:buClr>
              <a:buSzPts val="2250"/>
              <a:buFont typeface="Roboto"/>
              <a:buNone/>
              <a:defRPr sz="2250" b="1" i="0" u="none" strike="noStrike" cap="none">
                <a:solidFill>
                  <a:srgbClr val="A79884"/>
                </a:solidFill>
                <a:latin typeface="Roboto"/>
                <a:ea typeface="Roboto"/>
                <a:cs typeface="Roboto"/>
                <a:sym typeface="Roboto"/>
              </a:defRPr>
            </a:lvl6pPr>
            <a:lvl7pPr marL="3200400" marR="0" lvl="6" indent="-228600" algn="l" rtl="0">
              <a:lnSpc>
                <a:spcPct val="150000"/>
              </a:lnSpc>
              <a:spcBef>
                <a:spcPts val="0"/>
              </a:spcBef>
              <a:spcAft>
                <a:spcPts val="0"/>
              </a:spcAft>
              <a:buClr>
                <a:srgbClr val="A79884"/>
              </a:buClr>
              <a:buSzPts val="2250"/>
              <a:buFont typeface="Roboto"/>
              <a:buNone/>
              <a:defRPr sz="2250" b="1" i="0" u="none" strike="noStrike" cap="none">
                <a:solidFill>
                  <a:srgbClr val="A79884"/>
                </a:solidFill>
                <a:latin typeface="Roboto"/>
                <a:ea typeface="Roboto"/>
                <a:cs typeface="Roboto"/>
                <a:sym typeface="Roboto"/>
              </a:defRPr>
            </a:lvl7pPr>
            <a:lvl8pPr marL="3657600" marR="0" lvl="7" indent="-228600" algn="l" rtl="0">
              <a:lnSpc>
                <a:spcPct val="150000"/>
              </a:lnSpc>
              <a:spcBef>
                <a:spcPts val="0"/>
              </a:spcBef>
              <a:spcAft>
                <a:spcPts val="0"/>
              </a:spcAft>
              <a:buClr>
                <a:srgbClr val="A79884"/>
              </a:buClr>
              <a:buSzPts val="2250"/>
              <a:buFont typeface="Roboto"/>
              <a:buNone/>
              <a:defRPr sz="2250" b="1" i="0" u="none" strike="noStrike" cap="none">
                <a:solidFill>
                  <a:srgbClr val="A79884"/>
                </a:solidFill>
                <a:latin typeface="Roboto"/>
                <a:ea typeface="Roboto"/>
                <a:cs typeface="Roboto"/>
                <a:sym typeface="Roboto"/>
              </a:defRPr>
            </a:lvl8pPr>
            <a:lvl9pPr marL="4114800" marR="0" lvl="8" indent="-228600" algn="l" rtl="0">
              <a:lnSpc>
                <a:spcPct val="150000"/>
              </a:lnSpc>
              <a:spcBef>
                <a:spcPts val="0"/>
              </a:spcBef>
              <a:spcAft>
                <a:spcPts val="0"/>
              </a:spcAft>
              <a:buClr>
                <a:srgbClr val="A79884"/>
              </a:buClr>
              <a:buSzPts val="2250"/>
              <a:buFont typeface="Roboto"/>
              <a:buNone/>
              <a:defRPr sz="2250" b="1" i="0" u="none" strike="noStrike" cap="none">
                <a:solidFill>
                  <a:srgbClr val="A79884"/>
                </a:solidFill>
                <a:latin typeface="Roboto"/>
                <a:ea typeface="Roboto"/>
                <a:cs typeface="Roboto"/>
                <a:sym typeface="Roboto"/>
              </a:defRPr>
            </a:lvl9pPr>
          </a:lstStyle>
          <a:p>
            <a:endParaRPr/>
          </a:p>
        </p:txBody>
      </p:sp>
    </p:spTree>
    <p:extLst>
      <p:ext uri="{BB962C8B-B14F-4D97-AF65-F5344CB8AC3E}">
        <p14:creationId xmlns:p14="http://schemas.microsoft.com/office/powerpoint/2010/main" val="315763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FC805-F0CD-4D68-B86D-DE22D10A17A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DA851EE-6F9A-4AB7-89EE-A0DFE5ABCA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2A4813-E96C-4D61-844B-91E7B6881D84}"/>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5" name="Footer Placeholder 4">
            <a:extLst>
              <a:ext uri="{FF2B5EF4-FFF2-40B4-BE49-F238E27FC236}">
                <a16:creationId xmlns:a16="http://schemas.microsoft.com/office/drawing/2014/main" id="{2EFB0463-BCD8-4310-9A4A-0A3645BFAB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771994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678A1-53C9-4B5E-A2A3-F29C4495D59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1D030DF-5E99-41DE-B49D-2D1DEFA323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78D5FFD-5E8F-47DF-BCCC-4A475FB8C0F4}"/>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5" name="Footer Placeholder 4">
            <a:extLst>
              <a:ext uri="{FF2B5EF4-FFF2-40B4-BE49-F238E27FC236}">
                <a16:creationId xmlns:a16="http://schemas.microsoft.com/office/drawing/2014/main" id="{66342042-ABC8-4E06-97AC-2DBC70920F66}"/>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2495392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FC877-9F98-47E3-BDFE-FB814097E3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AEE73D-B9DF-46E6-9BB9-B014E46C98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55DA46-B333-4C56-8A58-4242B6F93F9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E669B4-214A-425A-918F-D03EEDC863A9}"/>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6" name="Footer Placeholder 5">
            <a:extLst>
              <a:ext uri="{FF2B5EF4-FFF2-40B4-BE49-F238E27FC236}">
                <a16:creationId xmlns:a16="http://schemas.microsoft.com/office/drawing/2014/main" id="{A37043E9-EA03-474F-8E38-58F3AD97FEF5}"/>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866404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90116-30A2-4957-A9F2-AB27BABCA2D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0D19E95-285A-4F35-A6B6-EB34DF2AE88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919CE6-1EEE-433A-BF20-97062DC00A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82ADD3-F84D-4473-8D75-B77E883856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C6201F-C79B-4BEA-85EE-E149EAF6EC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144C520-6933-42F2-AFCB-D07BE9242AC3}"/>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8" name="Footer Placeholder 7">
            <a:extLst>
              <a:ext uri="{FF2B5EF4-FFF2-40B4-BE49-F238E27FC236}">
                <a16:creationId xmlns:a16="http://schemas.microsoft.com/office/drawing/2014/main" id="{50E65D51-A854-4CE1-88A7-C6081ADD86F0}"/>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3792248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816EB-C952-416C-B95D-873A7E9C61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E1C34BD-F63A-43DA-8BFB-A54C8681A9FD}"/>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4" name="Footer Placeholder 3">
            <a:extLst>
              <a:ext uri="{FF2B5EF4-FFF2-40B4-BE49-F238E27FC236}">
                <a16:creationId xmlns:a16="http://schemas.microsoft.com/office/drawing/2014/main" id="{3EAE99A5-8C84-4AF5-8019-5F332D15E282}"/>
              </a:ext>
            </a:extLst>
          </p:cNvPr>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668828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927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0824B-2BD0-4520-A9AF-EF98BACAFF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B0C31E-786D-4EC3-9BA9-0D6DC783A1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E73711-4DA7-43FB-8E9B-82C851F206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7067E8-DDF6-47EF-90B9-91A855BF6383}"/>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6" name="Footer Placeholder 5">
            <a:extLst>
              <a:ext uri="{FF2B5EF4-FFF2-40B4-BE49-F238E27FC236}">
                <a16:creationId xmlns:a16="http://schemas.microsoft.com/office/drawing/2014/main" id="{45850595-1733-4A29-9D21-70B7ADB75F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359DCFA-C96E-455C-8099-E637F071E810}"/>
              </a:ext>
            </a:extLst>
          </p:cNvPr>
          <p:cNvSpPr>
            <a:spLocks noGrp="1"/>
          </p:cNvSpPr>
          <p:nvPr>
            <p:ph type="sldNum" sz="quarter" idx="12"/>
          </p:nvPr>
        </p:nvSpPr>
        <p:spPr>
          <a:xfrm>
            <a:off x="8610600" y="6356350"/>
            <a:ext cx="2743200" cy="365125"/>
          </a:xfrm>
          <a:prstGeom prst="rect">
            <a:avLst/>
          </a:prstGeom>
        </p:spPr>
        <p:txBody>
          <a:bodyPr/>
          <a:lstStyle/>
          <a:p>
            <a:fld id="{3495AE68-0191-4347-9CB0-C24E8CE96BE4}" type="slidenum">
              <a:rPr lang="en-US" smtClean="0"/>
              <a:t>‹#›</a:t>
            </a:fld>
            <a:endParaRPr lang="en-US"/>
          </a:p>
        </p:txBody>
      </p:sp>
    </p:spTree>
    <p:extLst>
      <p:ext uri="{BB962C8B-B14F-4D97-AF65-F5344CB8AC3E}">
        <p14:creationId xmlns:p14="http://schemas.microsoft.com/office/powerpoint/2010/main" val="1520309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12E50-69B2-45B6-A745-F81DD47259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D79BF2C-82DC-4AD8-BBCF-3172A16C64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A7005E-1FEC-4ECE-9A41-85EC4FEEFA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13A89D-C31F-46EE-B989-F50193E0B107}"/>
              </a:ext>
            </a:extLst>
          </p:cNvPr>
          <p:cNvSpPr>
            <a:spLocks noGrp="1"/>
          </p:cNvSpPr>
          <p:nvPr>
            <p:ph type="dt" sz="half" idx="10"/>
          </p:nvPr>
        </p:nvSpPr>
        <p:spPr>
          <a:xfrm>
            <a:off x="838200" y="6356350"/>
            <a:ext cx="2743200" cy="365125"/>
          </a:xfrm>
          <a:prstGeom prst="rect">
            <a:avLst/>
          </a:prstGeom>
        </p:spPr>
        <p:txBody>
          <a:bodyPr/>
          <a:lstStyle/>
          <a:p>
            <a:fld id="{08CF631D-0CED-47AD-8E81-F3A9D8F54E53}" type="datetimeFigureOut">
              <a:rPr lang="en-US" smtClean="0"/>
              <a:t>4/14/2021</a:t>
            </a:fld>
            <a:endParaRPr lang="en-US"/>
          </a:p>
        </p:txBody>
      </p:sp>
      <p:sp>
        <p:nvSpPr>
          <p:cNvPr id="6" name="Footer Placeholder 5">
            <a:extLst>
              <a:ext uri="{FF2B5EF4-FFF2-40B4-BE49-F238E27FC236}">
                <a16:creationId xmlns:a16="http://schemas.microsoft.com/office/drawing/2014/main" id="{7B830629-2FD5-458F-A605-13A90CD605D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3C2B240-32AB-4A36-BCE9-69D59B313D76}"/>
              </a:ext>
            </a:extLst>
          </p:cNvPr>
          <p:cNvSpPr>
            <a:spLocks noGrp="1"/>
          </p:cNvSpPr>
          <p:nvPr>
            <p:ph type="sldNum" sz="quarter" idx="12"/>
          </p:nvPr>
        </p:nvSpPr>
        <p:spPr>
          <a:xfrm>
            <a:off x="8610600" y="6356350"/>
            <a:ext cx="2743200" cy="365125"/>
          </a:xfrm>
          <a:prstGeom prst="rect">
            <a:avLst/>
          </a:prstGeom>
        </p:spPr>
        <p:txBody>
          <a:bodyPr/>
          <a:lstStyle/>
          <a:p>
            <a:fld id="{3495AE68-0191-4347-9CB0-C24E8CE96BE4}" type="slidenum">
              <a:rPr lang="en-US" smtClean="0"/>
              <a:t>‹#›</a:t>
            </a:fld>
            <a:endParaRPr lang="en-US"/>
          </a:p>
        </p:txBody>
      </p:sp>
    </p:spTree>
    <p:extLst>
      <p:ext uri="{BB962C8B-B14F-4D97-AF65-F5344CB8AC3E}">
        <p14:creationId xmlns:p14="http://schemas.microsoft.com/office/powerpoint/2010/main" val="8353267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9E12EC-1C8A-4164-8F3D-012C2873E88D}"/>
              </a:ext>
            </a:extLst>
          </p:cNvPr>
          <p:cNvGraphicFramePr>
            <a:graphicFrameLocks noChangeAspect="1"/>
          </p:cNvGraphicFramePr>
          <p:nvPr userDrawn="1">
            <p:custDataLst>
              <p:tags r:id="rId15"/>
            </p:custDataLst>
            <p:extLst>
              <p:ext uri="{D42A27DB-BD31-4B8C-83A1-F6EECF244321}">
                <p14:modId xmlns:p14="http://schemas.microsoft.com/office/powerpoint/2010/main" val="24977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44" imgH="443" progId="TCLayout.ActiveDocument.1">
                  <p:embed/>
                </p:oleObj>
              </mc:Choice>
              <mc:Fallback>
                <p:oleObj name="think-cell Slide" r:id="rId17" imgW="444" imgH="443" progId="TCLayout.ActiveDocument.1">
                  <p:embed/>
                  <p:pic>
                    <p:nvPicPr>
                      <p:cNvPr id="8" name="Object 7" hidden="1">
                        <a:extLst>
                          <a:ext uri="{FF2B5EF4-FFF2-40B4-BE49-F238E27FC236}">
                            <a16:creationId xmlns:a16="http://schemas.microsoft.com/office/drawing/2014/main" id="{DA9E12EC-1C8A-4164-8F3D-012C2873E88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17389BE-2372-4572-AB2C-D4A2A6ED8170}"/>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155FB64E-8C5F-4706-9D5A-74572F4D00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E4BCC27-D9FC-41BB-A5F5-F5F38EAF0C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2" name="Group 41">
            <a:extLst>
              <a:ext uri="{FF2B5EF4-FFF2-40B4-BE49-F238E27FC236}">
                <a16:creationId xmlns:a16="http://schemas.microsoft.com/office/drawing/2014/main" id="{DF8EF6D1-0819-42CE-A3BA-0FFA356ABE64}"/>
              </a:ext>
            </a:extLst>
          </p:cNvPr>
          <p:cNvGrpSpPr/>
          <p:nvPr userDrawn="1"/>
        </p:nvGrpSpPr>
        <p:grpSpPr>
          <a:xfrm>
            <a:off x="0" y="0"/>
            <a:ext cx="12192000" cy="6862338"/>
            <a:chOff x="0" y="0"/>
            <a:chExt cx="12192000" cy="6862338"/>
          </a:xfrm>
        </p:grpSpPr>
        <p:sp>
          <p:nvSpPr>
            <p:cNvPr id="41" name="Rectangle 40">
              <a:extLst>
                <a:ext uri="{FF2B5EF4-FFF2-40B4-BE49-F238E27FC236}">
                  <a16:creationId xmlns:a16="http://schemas.microsoft.com/office/drawing/2014/main" id="{41F75DBF-97B7-4095-933B-9973E35E30D6}"/>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ight Triangle 39">
              <a:extLst>
                <a:ext uri="{FF2B5EF4-FFF2-40B4-BE49-F238E27FC236}">
                  <a16:creationId xmlns:a16="http://schemas.microsoft.com/office/drawing/2014/main" id="{A1CBD616-04D1-4D7B-8C77-E65811CAD64B}"/>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ight Triangle 38">
              <a:extLst>
                <a:ext uri="{FF2B5EF4-FFF2-40B4-BE49-F238E27FC236}">
                  <a16:creationId xmlns:a16="http://schemas.microsoft.com/office/drawing/2014/main" id="{D23A1381-89E8-467B-A477-F86ACBA3ACE3}"/>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DEF0ADAF-44D7-4332-94F0-D8065E49874D}"/>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1AF0FF40-6083-443D-8013-C2EBFD7B78E7}"/>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Box 4">
              <a:extLst>
                <a:ext uri="{FF2B5EF4-FFF2-40B4-BE49-F238E27FC236}">
                  <a16:creationId xmlns:a16="http://schemas.microsoft.com/office/drawing/2014/main" id="{662DEEBA-D54B-4F14-A962-D095A06C427D}"/>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3" name="Picture 12" descr="Logo, icon&#10;&#10;Description automatically generated">
              <a:extLst>
                <a:ext uri="{FF2B5EF4-FFF2-40B4-BE49-F238E27FC236}">
                  <a16:creationId xmlns:a16="http://schemas.microsoft.com/office/drawing/2014/main" id="{A99FF9EB-9AA0-45BF-8798-EC99181D509A}"/>
                </a:ext>
              </a:extLst>
            </p:cNvPr>
            <p:cNvPicPr>
              <a:picLocks noChangeAspect="1"/>
            </p:cNvPicPr>
            <p:nvPr userDrawn="1"/>
          </p:nvPicPr>
          <p:blipFill rotWithShape="1">
            <a:blip r:embed="rId19">
              <a:extLst>
                <a:ext uri="{BEBA8EAE-BF5A-486C-A8C5-ECC9F3942E4B}">
                  <a14:imgProps xmlns:a14="http://schemas.microsoft.com/office/drawing/2010/main">
                    <a14:imgLayer r:embed="rId20">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34" name="Right Triangle 33">
              <a:extLst>
                <a:ext uri="{FF2B5EF4-FFF2-40B4-BE49-F238E27FC236}">
                  <a16:creationId xmlns:a16="http://schemas.microsoft.com/office/drawing/2014/main" id="{14D3974D-8E6A-48CD-BFC8-7F12F333216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ight Triangle 35">
              <a:extLst>
                <a:ext uri="{FF2B5EF4-FFF2-40B4-BE49-F238E27FC236}">
                  <a16:creationId xmlns:a16="http://schemas.microsoft.com/office/drawing/2014/main" id="{FCCCACDE-98AA-40A8-A910-52E38A04A459}"/>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ight Triangle 36">
              <a:extLst>
                <a:ext uri="{FF2B5EF4-FFF2-40B4-BE49-F238E27FC236}">
                  <a16:creationId xmlns:a16="http://schemas.microsoft.com/office/drawing/2014/main" id="{9E6E0A00-BF22-4C1E-A3DA-3ACC63B0B1C7}"/>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66639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notesSlide" Target="../notesSlides/notesSlide1.xml"/><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xml"/><Relationship Id="rId7" Type="http://schemas.openxmlformats.org/officeDocument/2006/relationships/image" Target="../media/image1.emf"/><Relationship Id="rId12" Type="http://schemas.openxmlformats.org/officeDocument/2006/relationships/chart" Target="../charts/chart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6.bin"/><Relationship Id="rId11" Type="http://schemas.microsoft.com/office/2007/relationships/hdphoto" Target="../media/hdphoto2.wdp"/><Relationship Id="rId5" Type="http://schemas.openxmlformats.org/officeDocument/2006/relationships/image" Target="../media/image8.jpg"/><Relationship Id="rId10" Type="http://schemas.openxmlformats.org/officeDocument/2006/relationships/image" Target="../media/image6.png"/><Relationship Id="rId4" Type="http://schemas.openxmlformats.org/officeDocument/2006/relationships/slideLayout" Target="../slideLayouts/slideLayout6.xml"/><Relationship Id="rId9"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notesSlide" Target="../notesSlides/notesSlide5.xml"/><Relationship Id="rId9"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image" Target="../media/image2.png"/><Relationship Id="rId7" Type="http://schemas.openxmlformats.org/officeDocument/2006/relationships/image" Target="../media/image9.jpeg"/><Relationship Id="rId12"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Layout" Target="../slideLayouts/slideLayout2.xml"/><Relationship Id="rId6" Type="http://schemas.microsoft.com/office/2007/relationships/hdphoto" Target="../media/hdphoto2.wdp"/><Relationship Id="rId11" Type="http://schemas.openxmlformats.org/officeDocument/2006/relationships/image" Target="../media/image13.jpeg"/><Relationship Id="rId5" Type="http://schemas.openxmlformats.org/officeDocument/2006/relationships/image" Target="../media/image6.png"/><Relationship Id="rId15" Type="http://schemas.openxmlformats.org/officeDocument/2006/relationships/image" Target="../media/image17.jpeg"/><Relationship Id="rId10" Type="http://schemas.openxmlformats.org/officeDocument/2006/relationships/image" Target="../media/image12.jpeg"/><Relationship Id="rId4" Type="http://schemas.microsoft.com/office/2007/relationships/hdphoto" Target="../media/hdphoto1.wdp"/><Relationship Id="rId9" Type="http://schemas.openxmlformats.org/officeDocument/2006/relationships/image" Target="../media/image11.jpeg"/><Relationship Id="rId14" Type="http://schemas.openxmlformats.org/officeDocument/2006/relationships/image" Target="../media/image16.jpe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microsoft.com/office/2007/relationships/hdphoto" Target="../media/hdphoto2.wdp"/><Relationship Id="rId5" Type="http://schemas.openxmlformats.org/officeDocument/2006/relationships/image" Target="../media/image5.png"/><Relationship Id="rId10" Type="http://schemas.openxmlformats.org/officeDocument/2006/relationships/image" Target="../media/image6.png"/><Relationship Id="rId4" Type="http://schemas.openxmlformats.org/officeDocument/2006/relationships/notesSlide" Target="../notesSlides/notesSlide2.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image" Target="../media/image4.emf"/><Relationship Id="rId12" Type="http://schemas.openxmlformats.org/officeDocument/2006/relationships/image" Target="../media/image19.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8.jpeg"/><Relationship Id="rId5" Type="http://schemas.openxmlformats.org/officeDocument/2006/relationships/image" Target="../media/image5.png"/><Relationship Id="rId10" Type="http://schemas.openxmlformats.org/officeDocument/2006/relationships/hyperlink" Target="https://www.ballard.com/videos/default-source/default-video-library/how-fuel-cell-works.mp4?sfvrsn=2" TargetMode="External"/><Relationship Id="rId4" Type="http://schemas.openxmlformats.org/officeDocument/2006/relationships/notesSlide" Target="../notesSlides/notesSlide3.xml"/><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23.png"/><Relationship Id="rId18" Type="http://schemas.openxmlformats.org/officeDocument/2006/relationships/image" Target="../media/image6.png"/><Relationship Id="rId3" Type="http://schemas.openxmlformats.org/officeDocument/2006/relationships/tags" Target="../tags/tag8.xml"/><Relationship Id="rId7" Type="http://schemas.openxmlformats.org/officeDocument/2006/relationships/image" Target="../media/image1.emf"/><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7.xml"/><Relationship Id="rId16" Type="http://schemas.openxmlformats.org/officeDocument/2006/relationships/image" Target="../media/image26.png"/><Relationship Id="rId20" Type="http://schemas.openxmlformats.org/officeDocument/2006/relationships/image" Target="../media/image28.jpe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21.jpeg"/><Relationship Id="rId5" Type="http://schemas.openxmlformats.org/officeDocument/2006/relationships/image" Target="../media/image8.jpg"/><Relationship Id="rId15" Type="http://schemas.openxmlformats.org/officeDocument/2006/relationships/image" Target="../media/image25.png"/><Relationship Id="rId10" Type="http://schemas.openxmlformats.org/officeDocument/2006/relationships/image" Target="../media/image20.jpeg"/><Relationship Id="rId19" Type="http://schemas.microsoft.com/office/2007/relationships/hdphoto" Target="../media/hdphoto2.wdp"/><Relationship Id="rId4" Type="http://schemas.openxmlformats.org/officeDocument/2006/relationships/slideLayout" Target="../slideLayouts/slideLayout6.xml"/><Relationship Id="rId9" Type="http://schemas.microsoft.com/office/2007/relationships/hdphoto" Target="../media/hdphoto1.wdp"/><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3.bin"/><Relationship Id="rId11" Type="http://schemas.microsoft.com/office/2007/relationships/hdphoto" Target="../media/hdphoto2.wdp"/><Relationship Id="rId5" Type="http://schemas.openxmlformats.org/officeDocument/2006/relationships/image" Target="../media/image29.jpeg"/><Relationship Id="rId10" Type="http://schemas.openxmlformats.org/officeDocument/2006/relationships/image" Target="../media/image6.png"/><Relationship Id="rId4" Type="http://schemas.openxmlformats.org/officeDocument/2006/relationships/notesSlide" Target="../notesSlides/notesSlide4.xml"/><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5.bin"/><Relationship Id="rId11" Type="http://schemas.microsoft.com/office/2007/relationships/hdphoto" Target="../media/hdphoto2.wdp"/><Relationship Id="rId5" Type="http://schemas.openxmlformats.org/officeDocument/2006/relationships/image" Target="../media/image30.jpeg"/><Relationship Id="rId10" Type="http://schemas.openxmlformats.org/officeDocument/2006/relationships/image" Target="../media/image6.png"/><Relationship Id="rId4" Type="http://schemas.openxmlformats.org/officeDocument/2006/relationships/slideLayout" Target="../slideLayouts/slideLayout6.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31.jpeg"/><Relationship Id="rId3" Type="http://schemas.openxmlformats.org/officeDocument/2006/relationships/tags" Target="../tags/tag13.xml"/><Relationship Id="rId7" Type="http://schemas.openxmlformats.org/officeDocument/2006/relationships/image" Target="../media/image1.emf"/><Relationship Id="rId12" Type="http://schemas.openxmlformats.org/officeDocument/2006/relationships/chart" Target="../charts/chart1.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5.bin"/><Relationship Id="rId11" Type="http://schemas.microsoft.com/office/2007/relationships/hdphoto" Target="../media/hdphoto2.wdp"/><Relationship Id="rId5" Type="http://schemas.openxmlformats.org/officeDocument/2006/relationships/image" Target="../media/image8.jpg"/><Relationship Id="rId10" Type="http://schemas.openxmlformats.org/officeDocument/2006/relationships/image" Target="../media/image6.png"/><Relationship Id="rId4" Type="http://schemas.openxmlformats.org/officeDocument/2006/relationships/slideLayout" Target="../slideLayouts/slideLayout6.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3" name="Rectangle 2">
            <a:extLst>
              <a:ext uri="{FF2B5EF4-FFF2-40B4-BE49-F238E27FC236}">
                <a16:creationId xmlns:a16="http://schemas.microsoft.com/office/drawing/2014/main" id="{CB4B434D-A0A6-47B4-BEBA-C066E076DB4E}"/>
              </a:ext>
            </a:extLst>
          </p:cNvPr>
          <p:cNvSpPr/>
          <p:nvPr/>
        </p:nvSpPr>
        <p:spPr>
          <a:xfrm>
            <a:off x="7028597" y="110139"/>
            <a:ext cx="5163403" cy="67478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a:extLst>
              <a:ext uri="{FF2B5EF4-FFF2-40B4-BE49-F238E27FC236}">
                <a16:creationId xmlns:a16="http://schemas.microsoft.com/office/drawing/2014/main" id="{A4D0EE85-A3A1-4BED-8315-066AAF42ABD0}"/>
              </a:ext>
            </a:extLst>
          </p:cNvPr>
          <p:cNvPicPr>
            <a:picLocks noChangeAspect="1"/>
          </p:cNvPicPr>
          <p:nvPr/>
        </p:nvPicPr>
        <p:blipFill rotWithShape="1">
          <a:blip r:embed="rId5"/>
          <a:srcRect l="7846"/>
          <a:stretch/>
        </p:blipFill>
        <p:spPr>
          <a:xfrm>
            <a:off x="-504607" y="321060"/>
            <a:ext cx="7685018" cy="6536940"/>
          </a:xfrm>
          <a:prstGeom prst="rect">
            <a:avLst/>
          </a:prstGeom>
        </p:spPr>
      </p:pic>
      <p:sp>
        <p:nvSpPr>
          <p:cNvPr id="5" name="Rectangle 4">
            <a:extLst>
              <a:ext uri="{FF2B5EF4-FFF2-40B4-BE49-F238E27FC236}">
                <a16:creationId xmlns:a16="http://schemas.microsoft.com/office/drawing/2014/main" id="{95E5CF84-5413-426B-8750-88E19851FD27}"/>
              </a:ext>
            </a:extLst>
          </p:cNvPr>
          <p:cNvSpPr/>
          <p:nvPr/>
        </p:nvSpPr>
        <p:spPr>
          <a:xfrm>
            <a:off x="114318" y="-168090"/>
            <a:ext cx="12261269" cy="5247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CEEB8728-D060-4DBE-8CB9-F0389A7FDAFF}"/>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CEEB8728-D060-4DBE-8CB9-F0389A7FDAF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54E97BD2-F283-4961-9F16-F38864582FC9}"/>
              </a:ext>
            </a:extLst>
          </p:cNvPr>
          <p:cNvGrpSpPr/>
          <p:nvPr/>
        </p:nvGrpSpPr>
        <p:grpSpPr>
          <a:xfrm>
            <a:off x="0" y="0"/>
            <a:ext cx="12192000" cy="6862338"/>
            <a:chOff x="0" y="0"/>
            <a:chExt cx="12192000" cy="6862338"/>
          </a:xfrm>
        </p:grpSpPr>
        <p:sp>
          <p:nvSpPr>
            <p:cNvPr id="12" name="Rectangle 11">
              <a:extLst>
                <a:ext uri="{FF2B5EF4-FFF2-40B4-BE49-F238E27FC236}">
                  <a16:creationId xmlns:a16="http://schemas.microsoft.com/office/drawing/2014/main" id="{9AA416D9-5905-4587-B8B2-8A1EE377F43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2E1CA134-54AE-4580-9689-B001148A7BB5}"/>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ight Triangle 13">
              <a:extLst>
                <a:ext uri="{FF2B5EF4-FFF2-40B4-BE49-F238E27FC236}">
                  <a16:creationId xmlns:a16="http://schemas.microsoft.com/office/drawing/2014/main" id="{84FCED4A-7369-43F3-9486-02AC034C4C4E}"/>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D9DA79-B818-4AA2-BBC1-4FD2BCA9268E}"/>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19608F70-B70E-46E1-839C-9103DE9588D6}"/>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Box 4">
              <a:extLst>
                <a:ext uri="{FF2B5EF4-FFF2-40B4-BE49-F238E27FC236}">
                  <a16:creationId xmlns:a16="http://schemas.microsoft.com/office/drawing/2014/main" id="{460EA15F-4AE6-4D3A-8C0A-81EAA3242908}"/>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sp>
          <p:nvSpPr>
            <p:cNvPr id="19" name="Right Triangle 18">
              <a:extLst>
                <a:ext uri="{FF2B5EF4-FFF2-40B4-BE49-F238E27FC236}">
                  <a16:creationId xmlns:a16="http://schemas.microsoft.com/office/drawing/2014/main" id="{863FCFF6-096D-4EE4-84E1-F2CC4694A53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F4F85283-9839-43A1-A511-941F1FEEDFF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ight Triangle 20">
              <a:extLst>
                <a:ext uri="{FF2B5EF4-FFF2-40B4-BE49-F238E27FC236}">
                  <a16:creationId xmlns:a16="http://schemas.microsoft.com/office/drawing/2014/main" id="{290F6A2F-17FB-4847-8DB7-5C95D03220E8}"/>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Single Corner Snipped 7">
            <a:extLst>
              <a:ext uri="{FF2B5EF4-FFF2-40B4-BE49-F238E27FC236}">
                <a16:creationId xmlns:a16="http://schemas.microsoft.com/office/drawing/2014/main" id="{A3B494EF-7985-455F-BBF6-09C49C23C9EC}"/>
              </a:ext>
            </a:extLst>
          </p:cNvPr>
          <p:cNvSpPr/>
          <p:nvPr/>
        </p:nvSpPr>
        <p:spPr>
          <a:xfrm flipH="1" flipV="1">
            <a:off x="5057775" y="-101834"/>
            <a:ext cx="3829050" cy="878023"/>
          </a:xfrm>
          <a:prstGeom prst="snip1Rect">
            <a:avLst>
              <a:gd name="adj" fmla="val 28298"/>
            </a:avLst>
          </a:prstGeom>
          <a:gradFill flip="none" rotWithShape="0">
            <a:gsLst>
              <a:gs pos="35000">
                <a:schemeClr val="tx1">
                  <a:alpha val="75000"/>
                </a:schemeClr>
              </a:gs>
              <a:gs pos="0">
                <a:schemeClr val="tx1">
                  <a:alpha val="0"/>
                </a:schemeClr>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a:extLst>
              <a:ext uri="{FF2B5EF4-FFF2-40B4-BE49-F238E27FC236}">
                <a16:creationId xmlns:a16="http://schemas.microsoft.com/office/drawing/2014/main" id="{57516D55-D25A-4356-AA01-19FAD9F47E58}"/>
              </a:ext>
            </a:extLst>
          </p:cNvPr>
          <p:cNvGrpSpPr/>
          <p:nvPr/>
        </p:nvGrpSpPr>
        <p:grpSpPr>
          <a:xfrm>
            <a:off x="6958197" y="1122095"/>
            <a:ext cx="5921000" cy="3776322"/>
            <a:chOff x="6830007" y="534421"/>
            <a:chExt cx="5921000" cy="3776322"/>
          </a:xfrm>
        </p:grpSpPr>
        <p:sp>
          <p:nvSpPr>
            <p:cNvPr id="40" name="Parallelogram 39">
              <a:extLst>
                <a:ext uri="{FF2B5EF4-FFF2-40B4-BE49-F238E27FC236}">
                  <a16:creationId xmlns:a16="http://schemas.microsoft.com/office/drawing/2014/main" id="{075384E0-5B66-49CB-B3B5-8046269A76D2}"/>
                </a:ext>
              </a:extLst>
            </p:cNvPr>
            <p:cNvSpPr/>
            <p:nvPr/>
          </p:nvSpPr>
          <p:spPr>
            <a:xfrm>
              <a:off x="6830007" y="648907"/>
              <a:ext cx="5921000" cy="1609104"/>
            </a:xfrm>
            <a:prstGeom prst="parallelogram">
              <a:avLst>
                <a:gd name="adj" fmla="val 32672"/>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
              <a:extLst>
                <a:ext uri="{FF2B5EF4-FFF2-40B4-BE49-F238E27FC236}">
                  <a16:creationId xmlns:a16="http://schemas.microsoft.com/office/drawing/2014/main" id="{57850337-1C91-4DAE-9042-22E30B970B6C}"/>
                </a:ext>
              </a:extLst>
            </p:cNvPr>
            <p:cNvSpPr txBox="1">
              <a:spLocks noChangeArrowheads="1"/>
            </p:cNvSpPr>
            <p:nvPr/>
          </p:nvSpPr>
          <p:spPr bwMode="auto">
            <a:xfrm>
              <a:off x="7180411" y="534421"/>
              <a:ext cx="4619000" cy="3776322"/>
            </a:xfrm>
            <a:prstGeom prst="flowChartAlternateProcess">
              <a:avLst/>
            </a:prstGeom>
            <a:noFill/>
            <a:ln>
              <a:noFill/>
            </a:ln>
          </p:spPr>
          <p:txBody>
            <a:bodyPr lIns="0" tIns="0" rIns="0" bIns="0"/>
            <a:lstStyle>
              <a:lvl1pPr eaLnBrk="0" hangingPunct="0">
                <a:defRPr>
                  <a:solidFill>
                    <a:schemeClr val="tx1"/>
                  </a:solidFill>
                  <a:latin typeface="Calibri" panose="020F0502020204030204" pitchFamily="34" charset="0"/>
                  <a:ea typeface="MS PGothic" panose="020B0600070205080204" pitchFamily="34" charset="-128"/>
                </a:defRPr>
              </a:lvl1pPr>
              <a:lvl2pPr marL="742950" indent="-285750" eaLnBrk="0" hangingPunct="0">
                <a:defRPr>
                  <a:solidFill>
                    <a:schemeClr val="tx1"/>
                  </a:solidFill>
                  <a:latin typeface="Calibri" panose="020F0502020204030204" pitchFamily="34" charset="0"/>
                  <a:ea typeface="MS PGothic" panose="020B0600070205080204" pitchFamily="34" charset="-128"/>
                </a:defRPr>
              </a:lvl2pPr>
              <a:lvl3pPr marL="1143000" indent="-228600" eaLnBrk="0" hangingPunct="0">
                <a:defRPr>
                  <a:solidFill>
                    <a:schemeClr val="tx1"/>
                  </a:solidFill>
                  <a:latin typeface="Calibri" panose="020F0502020204030204" pitchFamily="34" charset="0"/>
                  <a:ea typeface="MS PGothic" panose="020B0600070205080204" pitchFamily="34" charset="-128"/>
                </a:defRPr>
              </a:lvl3pPr>
              <a:lvl4pPr marL="1600200" indent="-228600" eaLnBrk="0" hangingPunct="0">
                <a:defRPr>
                  <a:solidFill>
                    <a:schemeClr val="tx1"/>
                  </a:solidFill>
                  <a:latin typeface="Calibri" panose="020F0502020204030204" pitchFamily="34" charset="0"/>
                  <a:ea typeface="MS PGothic" panose="020B0600070205080204" pitchFamily="34" charset="-128"/>
                </a:defRPr>
              </a:lvl4pPr>
              <a:lvl5pPr marL="2057400" indent="-228600" eaLnBrk="0" hangingPunct="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H</a:t>
              </a:r>
              <a:r>
                <a:rPr lang="en-GB" sz="3200" b="1" baseline="-25000" dirty="0">
                  <a:solidFill>
                    <a:schemeClr val="bg1"/>
                  </a:solidFill>
                  <a:latin typeface="Tahoma" panose="020B0604030504040204" pitchFamily="34" charset="0"/>
                  <a:ea typeface="Tahoma" panose="020B0604030504040204" pitchFamily="34" charset="0"/>
                  <a:cs typeface="Tahoma" panose="020B0604030504040204" pitchFamily="34" charset="0"/>
                </a:rPr>
                <a:t>2</a:t>
              </a:r>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 Mobility: </a:t>
              </a:r>
              <a:r>
                <a:rPr lang="en-GB" sz="3200" b="1" dirty="0" err="1">
                  <a:solidFill>
                    <a:schemeClr val="bg1"/>
                  </a:solidFill>
                  <a:latin typeface="Tahoma" panose="020B0604030504040204" pitchFamily="34" charset="0"/>
                  <a:ea typeface="Tahoma" panose="020B0604030504040204" pitchFamily="34" charset="0"/>
                  <a:cs typeface="Tahoma" panose="020B0604030504040204" pitchFamily="34" charset="0"/>
                </a:rPr>
                <a:t>Wrightbus</a:t>
              </a:r>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 Hydrogen Fuel-Cell Buses</a:t>
              </a:r>
            </a:p>
            <a:p>
              <a:pPr algn="ctr" eaLnBrk="1" hangingPunct="1"/>
              <a:endParaRPr lang="en-GB" sz="24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r>
                <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rPr>
                <a:t>Dr Robert Best</a:t>
              </a:r>
              <a:br>
                <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Director of Engineering</a:t>
              </a:r>
            </a:p>
            <a:p>
              <a:pPr algn="ctr" eaLnBrk="1" hangingPunct="1"/>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Bamford Bus Company T/A </a:t>
              </a:r>
              <a:r>
                <a:rPr lang="en-GB" sz="2000" dirty="0" err="1">
                  <a:solidFill>
                    <a:schemeClr val="bg1"/>
                  </a:solidFill>
                  <a:latin typeface="Tahoma" panose="020B0604030504040204" pitchFamily="34" charset="0"/>
                  <a:ea typeface="Tahoma" panose="020B0604030504040204" pitchFamily="34" charset="0"/>
                  <a:cs typeface="Tahoma" panose="020B0604030504040204" pitchFamily="34" charset="0"/>
                </a:rPr>
                <a:t>Wrightbus</a:t>
              </a:r>
              <a:endParaRPr lang="en-GB" sz="2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endParaRPr lang="en-GB"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r>
                <a:rPr lang="en-GB" sz="2000" b="1" dirty="0">
                  <a:solidFill>
                    <a:schemeClr val="bg1"/>
                  </a:solidFill>
                  <a:latin typeface="Tahoma" panose="020B0604030504040204" pitchFamily="34" charset="0"/>
                  <a:ea typeface="Tahoma" panose="020B0604030504040204" pitchFamily="34" charset="0"/>
                  <a:cs typeface="Tahoma" panose="020B0604030504040204" pitchFamily="34" charset="0"/>
                </a:rPr>
                <a:t>15/04/2021</a:t>
              </a:r>
              <a:endParaRPr lang="en-GB" sz="2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endParaRPr lang="en-GB" altLang="en-US" sz="6600" dirty="0">
                <a:solidFill>
                  <a:schemeClr val="bg1"/>
                </a:solidFill>
                <a:effectLst>
                  <a:outerShdw blurRad="63500" sx="102000" sy="102000" algn="ctr" rotWithShape="0">
                    <a:prstClr val="black">
                      <a:alpha val="90000"/>
                    </a:prstClr>
                  </a:outerShdw>
                </a:effectLst>
                <a:latin typeface="Tahoma" panose="020B0604030504040204" pitchFamily="34" charset="0"/>
                <a:ea typeface="Tahoma" panose="020B0604030504040204" pitchFamily="34" charset="0"/>
                <a:cs typeface="Tahoma" panose="020B0604030504040204" pitchFamily="34" charset="0"/>
                <a:sym typeface="Roboto"/>
              </a:endParaRPr>
            </a:p>
          </p:txBody>
        </p:sp>
      </p:grpSp>
      <p:sp>
        <p:nvSpPr>
          <p:cNvPr id="34" name="Subtitle 2">
            <a:extLst>
              <a:ext uri="{FF2B5EF4-FFF2-40B4-BE49-F238E27FC236}">
                <a16:creationId xmlns:a16="http://schemas.microsoft.com/office/drawing/2014/main" id="{FBD868E8-C385-4A68-A56E-B55EB3A59146}"/>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25" name="Group 24">
            <a:extLst>
              <a:ext uri="{FF2B5EF4-FFF2-40B4-BE49-F238E27FC236}">
                <a16:creationId xmlns:a16="http://schemas.microsoft.com/office/drawing/2014/main" id="{B964448A-4126-4648-B992-5DADFF37DD32}"/>
              </a:ext>
            </a:extLst>
          </p:cNvPr>
          <p:cNvGrpSpPr/>
          <p:nvPr/>
        </p:nvGrpSpPr>
        <p:grpSpPr>
          <a:xfrm>
            <a:off x="804907" y="2570221"/>
            <a:ext cx="12751007" cy="6886993"/>
            <a:chOff x="0" y="0"/>
            <a:chExt cx="12751007" cy="6886993"/>
          </a:xfrm>
        </p:grpSpPr>
        <p:grpSp>
          <p:nvGrpSpPr>
            <p:cNvPr id="26" name="Group 25">
              <a:extLst>
                <a:ext uri="{FF2B5EF4-FFF2-40B4-BE49-F238E27FC236}">
                  <a16:creationId xmlns:a16="http://schemas.microsoft.com/office/drawing/2014/main" id="{FADF6CA2-6E2C-4230-B334-CF77A38C67B9}"/>
                </a:ext>
              </a:extLst>
            </p:cNvPr>
            <p:cNvGrpSpPr/>
            <p:nvPr/>
          </p:nvGrpSpPr>
          <p:grpSpPr>
            <a:xfrm>
              <a:off x="0" y="0"/>
              <a:ext cx="12751007" cy="6886993"/>
              <a:chOff x="0" y="0"/>
              <a:chExt cx="12751007" cy="6886993"/>
            </a:xfrm>
          </p:grpSpPr>
          <p:sp>
            <p:nvSpPr>
              <p:cNvPr id="30" name="Rectangle 29">
                <a:extLst>
                  <a:ext uri="{FF2B5EF4-FFF2-40B4-BE49-F238E27FC236}">
                    <a16:creationId xmlns:a16="http://schemas.microsoft.com/office/drawing/2014/main" id="{12E7C62A-52B7-44C5-A42E-6A6E6864CF32}"/>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ight Triangle 30">
                <a:extLst>
                  <a:ext uri="{FF2B5EF4-FFF2-40B4-BE49-F238E27FC236}">
                    <a16:creationId xmlns:a16="http://schemas.microsoft.com/office/drawing/2014/main" id="{AC8C502A-8A27-4F2A-ABD1-E1C45143D657}"/>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ight Triangle 31">
                <a:extLst>
                  <a:ext uri="{FF2B5EF4-FFF2-40B4-BE49-F238E27FC236}">
                    <a16:creationId xmlns:a16="http://schemas.microsoft.com/office/drawing/2014/main" id="{6F3AEB4B-F386-49DF-AF50-7AE384987385}"/>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975420BC-D9BD-4A8C-9C12-6F0EB4238213}"/>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204D2B0F-E6F6-4AFC-AEBC-97F7F4B1E914}"/>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ight Triangle 35">
                <a:extLst>
                  <a:ext uri="{FF2B5EF4-FFF2-40B4-BE49-F238E27FC236}">
                    <a16:creationId xmlns:a16="http://schemas.microsoft.com/office/drawing/2014/main" id="{4EADCF2B-FD58-4045-9D53-026038270FB5}"/>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ight Triangle 36">
                <a:extLst>
                  <a:ext uri="{FF2B5EF4-FFF2-40B4-BE49-F238E27FC236}">
                    <a16:creationId xmlns:a16="http://schemas.microsoft.com/office/drawing/2014/main" id="{F70B9548-3366-40F4-8385-B68B7CBA2CF2}"/>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ight Triangle 37">
                <a:extLst>
                  <a:ext uri="{FF2B5EF4-FFF2-40B4-BE49-F238E27FC236}">
                    <a16:creationId xmlns:a16="http://schemas.microsoft.com/office/drawing/2014/main" id="{353F6730-59EE-40CA-B5FC-CCC4571240C9}"/>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Box 4">
                <a:extLst>
                  <a:ext uri="{FF2B5EF4-FFF2-40B4-BE49-F238E27FC236}">
                    <a16:creationId xmlns:a16="http://schemas.microsoft.com/office/drawing/2014/main" id="{432A5686-73BC-447B-9073-175D35B771D5}"/>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27" name="Subtitle 2">
              <a:extLst>
                <a:ext uri="{FF2B5EF4-FFF2-40B4-BE49-F238E27FC236}">
                  <a16:creationId xmlns:a16="http://schemas.microsoft.com/office/drawing/2014/main" id="{122436A6-BFAE-4E4D-9677-59F1BA584545}"/>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9" name="Picture 28">
              <a:extLst>
                <a:ext uri="{FF2B5EF4-FFF2-40B4-BE49-F238E27FC236}">
                  <a16:creationId xmlns:a16="http://schemas.microsoft.com/office/drawing/2014/main" id="{424CCA48-51CD-423D-A910-92D91B3D6698}"/>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4024622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EC6AD72F-7339-4AA0-95EF-8B8BE80D68EE}"/>
              </a:ext>
            </a:extLst>
          </p:cNvPr>
          <p:cNvPicPr>
            <a:picLocks noChangeAspect="1"/>
          </p:cNvPicPr>
          <p:nvPr/>
        </p:nvPicPr>
        <p:blipFill rotWithShape="1">
          <a:blip r:embed="rId5">
            <a:alphaModFix amt="15000"/>
            <a:extLst>
              <a:ext uri="{28A0092B-C50C-407E-A947-70E740481C1C}">
                <a14:useLocalDpi xmlns:a14="http://schemas.microsoft.com/office/drawing/2010/main" val="0"/>
              </a:ext>
            </a:extLst>
          </a:blip>
          <a:srcRect t="-1" b="9727"/>
          <a:stretch/>
        </p:blipFill>
        <p:spPr>
          <a:xfrm>
            <a:off x="-1" y="-239717"/>
            <a:ext cx="12192000" cy="7337434"/>
          </a:xfrm>
          <a:prstGeom prst="rect">
            <a:avLst/>
          </a:prstGeom>
        </p:spPr>
      </p:pic>
      <p:graphicFrame>
        <p:nvGraphicFramePr>
          <p:cNvPr id="5" name="Object 4" hidden="1">
            <a:extLst>
              <a:ext uri="{FF2B5EF4-FFF2-40B4-BE49-F238E27FC236}">
                <a16:creationId xmlns:a16="http://schemas.microsoft.com/office/drawing/2014/main" id="{2D3E49AC-6AB8-45E5-A63F-41B87C5D6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444" imgH="443" progId="TCLayout.ActiveDocument.1">
                  <p:embed/>
                </p:oleObj>
              </mc:Choice>
              <mc:Fallback>
                <p:oleObj name="think-cell Slide" r:id="rId6" imgW="444" imgH="443" progId="TCLayout.ActiveDocument.1">
                  <p:embed/>
                  <p:pic>
                    <p:nvPicPr>
                      <p:cNvPr id="5" name="Object 4" hidden="1">
                        <a:extLst>
                          <a:ext uri="{FF2B5EF4-FFF2-40B4-BE49-F238E27FC236}">
                            <a16:creationId xmlns:a16="http://schemas.microsoft.com/office/drawing/2014/main" id="{2D3E49AC-6AB8-45E5-A63F-41B87C5D67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DD10F7-66EC-463F-9134-85D66B35742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9" name="Group 8">
            <a:extLst>
              <a:ext uri="{FF2B5EF4-FFF2-40B4-BE49-F238E27FC236}">
                <a16:creationId xmlns:a16="http://schemas.microsoft.com/office/drawing/2014/main" id="{2CF149CD-DE5B-4ADE-BF08-56D7C31C8665}"/>
              </a:ext>
            </a:extLst>
          </p:cNvPr>
          <p:cNvGrpSpPr/>
          <p:nvPr/>
        </p:nvGrpSpPr>
        <p:grpSpPr>
          <a:xfrm>
            <a:off x="0" y="0"/>
            <a:ext cx="12192000" cy="6862338"/>
            <a:chOff x="0" y="0"/>
            <a:chExt cx="12192000" cy="6862338"/>
          </a:xfrm>
        </p:grpSpPr>
        <p:sp>
          <p:nvSpPr>
            <p:cNvPr id="10" name="Rectangle 9">
              <a:extLst>
                <a:ext uri="{FF2B5EF4-FFF2-40B4-BE49-F238E27FC236}">
                  <a16:creationId xmlns:a16="http://schemas.microsoft.com/office/drawing/2014/main" id="{191375F3-D195-4FBE-8E82-FA6AD7CFD4E2}"/>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ight Triangle 10">
              <a:extLst>
                <a:ext uri="{FF2B5EF4-FFF2-40B4-BE49-F238E27FC236}">
                  <a16:creationId xmlns:a16="http://schemas.microsoft.com/office/drawing/2014/main" id="{050F7ECB-4477-415C-8A78-D27223520564}"/>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53E88F81-9D9E-4DE2-9664-235D4065EB52}"/>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571670C-4191-4CC7-8C78-FE1DFB1124E9}"/>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14E9874-77DE-415F-A61A-C43194502245}"/>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Box 4">
              <a:extLst>
                <a:ext uri="{FF2B5EF4-FFF2-40B4-BE49-F238E27FC236}">
                  <a16:creationId xmlns:a16="http://schemas.microsoft.com/office/drawing/2014/main" id="{7660A409-2FF7-4353-8605-5B0140E675C2}"/>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7" name="Picture 16" descr="Logo, icon&#10;&#10;Description automatically generated">
              <a:extLst>
                <a:ext uri="{FF2B5EF4-FFF2-40B4-BE49-F238E27FC236}">
                  <a16:creationId xmlns:a16="http://schemas.microsoft.com/office/drawing/2014/main" id="{4DE20C99-0A3D-4A03-B4AA-8E231FCE41E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8" name="Right Triangle 17">
              <a:extLst>
                <a:ext uri="{FF2B5EF4-FFF2-40B4-BE49-F238E27FC236}">
                  <a16:creationId xmlns:a16="http://schemas.microsoft.com/office/drawing/2014/main" id="{8A24E155-2488-484A-B530-9326EA27C724}"/>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ight Triangle 18">
              <a:extLst>
                <a:ext uri="{FF2B5EF4-FFF2-40B4-BE49-F238E27FC236}">
                  <a16:creationId xmlns:a16="http://schemas.microsoft.com/office/drawing/2014/main" id="{7EFFDADB-E955-447C-ADF4-4048AA2B1F77}"/>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B25D2F85-D11D-4902-82C3-B2B4C9AEAFB6}"/>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8" name="Group 27">
            <a:extLst>
              <a:ext uri="{FF2B5EF4-FFF2-40B4-BE49-F238E27FC236}">
                <a16:creationId xmlns:a16="http://schemas.microsoft.com/office/drawing/2014/main" id="{F5B55D7C-2C57-4B23-8A9E-9C5B88F997F3}"/>
              </a:ext>
            </a:extLst>
          </p:cNvPr>
          <p:cNvGrpSpPr/>
          <p:nvPr/>
        </p:nvGrpSpPr>
        <p:grpSpPr>
          <a:xfrm>
            <a:off x="0" y="-2"/>
            <a:ext cx="12182475" cy="1085190"/>
            <a:chOff x="0" y="-2"/>
            <a:chExt cx="12182475" cy="1085190"/>
          </a:xfrm>
        </p:grpSpPr>
        <p:sp>
          <p:nvSpPr>
            <p:cNvPr id="29" name="Rectangle 28">
              <a:extLst>
                <a:ext uri="{FF2B5EF4-FFF2-40B4-BE49-F238E27FC236}">
                  <a16:creationId xmlns:a16="http://schemas.microsoft.com/office/drawing/2014/main" id="{0F7085E8-4E52-4764-AF1A-41E5F96C2776}"/>
                </a:ext>
              </a:extLst>
            </p:cNvPr>
            <p:cNvSpPr/>
            <p:nvPr/>
          </p:nvSpPr>
          <p:spPr>
            <a:xfrm>
              <a:off x="0" y="-2"/>
              <a:ext cx="11113424" cy="108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itle 1">
              <a:extLst>
                <a:ext uri="{FF2B5EF4-FFF2-40B4-BE49-F238E27FC236}">
                  <a16:creationId xmlns:a16="http://schemas.microsoft.com/office/drawing/2014/main" id="{B6FF264E-0843-449A-9894-22272550BB08}"/>
                </a:ext>
              </a:extLst>
            </p:cNvPr>
            <p:cNvSpPr txBox="1">
              <a:spLocks/>
            </p:cNvSpPr>
            <p:nvPr/>
          </p:nvSpPr>
          <p:spPr>
            <a:xfrm>
              <a:off x="1175049" y="5188"/>
              <a:ext cx="9841902" cy="1080000"/>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algn="ctr"/>
              <a:r>
                <a:rPr lang="en-GB" sz="4000" dirty="0">
                  <a:solidFill>
                    <a:schemeClr val="bg1"/>
                  </a:solidFill>
                  <a:latin typeface="Tahoma" panose="020B0604030504040204" pitchFamily="34" charset="0"/>
                  <a:ea typeface="Tahoma" panose="020B0604030504040204" pitchFamily="34" charset="0"/>
                  <a:cs typeface="Tahoma" panose="020B0604030504040204" pitchFamily="34" charset="0"/>
                </a:rPr>
                <a:t>Technology Recommendation</a:t>
              </a:r>
              <a:endParaRPr lang="en-US"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ight Triangle 30">
              <a:extLst>
                <a:ext uri="{FF2B5EF4-FFF2-40B4-BE49-F238E27FC236}">
                  <a16:creationId xmlns:a16="http://schemas.microsoft.com/office/drawing/2014/main" id="{610432B6-1BF9-4DCA-AC2B-C22E5A4C5D2D}"/>
                </a:ext>
              </a:extLst>
            </p:cNvPr>
            <p:cNvSpPr/>
            <p:nvPr/>
          </p:nvSpPr>
          <p:spPr>
            <a:xfrm flipV="1">
              <a:off x="11103900" y="0"/>
              <a:ext cx="1078575" cy="1079998"/>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ight Triangle 31">
              <a:extLst>
                <a:ext uri="{FF2B5EF4-FFF2-40B4-BE49-F238E27FC236}">
                  <a16:creationId xmlns:a16="http://schemas.microsoft.com/office/drawing/2014/main" id="{9CD92198-965C-43AF-9C3A-038BB9CF5039}"/>
                </a:ext>
              </a:extLst>
            </p:cNvPr>
            <p:cNvSpPr/>
            <p:nvPr/>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 name="Subtitle 2">
            <a:extLst>
              <a:ext uri="{FF2B5EF4-FFF2-40B4-BE49-F238E27FC236}">
                <a16:creationId xmlns:a16="http://schemas.microsoft.com/office/drawing/2014/main" id="{1EEE5D34-2FA4-400F-BC83-07D283A0B020}"/>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0</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21AC5886-0BBC-4146-A394-B43C754D0837}"/>
              </a:ext>
            </a:extLst>
          </p:cNvPr>
          <p:cNvGrpSpPr/>
          <p:nvPr/>
        </p:nvGrpSpPr>
        <p:grpSpPr>
          <a:xfrm>
            <a:off x="0" y="0"/>
            <a:ext cx="12751007" cy="6886993"/>
            <a:chOff x="0" y="0"/>
            <a:chExt cx="12751007" cy="6886993"/>
          </a:xfrm>
        </p:grpSpPr>
        <p:grpSp>
          <p:nvGrpSpPr>
            <p:cNvPr id="34" name="Group 33">
              <a:extLst>
                <a:ext uri="{FF2B5EF4-FFF2-40B4-BE49-F238E27FC236}">
                  <a16:creationId xmlns:a16="http://schemas.microsoft.com/office/drawing/2014/main" id="{FE6ADE58-AB86-4019-9C4D-D8821D7B62B3}"/>
                </a:ext>
              </a:extLst>
            </p:cNvPr>
            <p:cNvGrpSpPr/>
            <p:nvPr/>
          </p:nvGrpSpPr>
          <p:grpSpPr>
            <a:xfrm>
              <a:off x="0" y="0"/>
              <a:ext cx="12751007" cy="6886993"/>
              <a:chOff x="0" y="0"/>
              <a:chExt cx="12751007" cy="6886993"/>
            </a:xfrm>
          </p:grpSpPr>
          <p:sp>
            <p:nvSpPr>
              <p:cNvPr id="37" name="Rectangle 36">
                <a:extLst>
                  <a:ext uri="{FF2B5EF4-FFF2-40B4-BE49-F238E27FC236}">
                    <a16:creationId xmlns:a16="http://schemas.microsoft.com/office/drawing/2014/main" id="{35CA42F1-ABA4-410C-B3CB-982B1EF1B6E4}"/>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ight Triangle 37">
                <a:extLst>
                  <a:ext uri="{FF2B5EF4-FFF2-40B4-BE49-F238E27FC236}">
                    <a16:creationId xmlns:a16="http://schemas.microsoft.com/office/drawing/2014/main" id="{C901E1D2-D649-45AF-8CD9-837385C635AC}"/>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ight Triangle 39">
                <a:extLst>
                  <a:ext uri="{FF2B5EF4-FFF2-40B4-BE49-F238E27FC236}">
                    <a16:creationId xmlns:a16="http://schemas.microsoft.com/office/drawing/2014/main" id="{DAE7BE77-7B27-49DD-A7FC-5B78951E2560}"/>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52946D8B-DF4B-4043-867B-86DD3B1BBDF5}"/>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39AD01C2-1796-46B1-892A-16D99B5BC8D4}"/>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ight Triangle 42">
                <a:extLst>
                  <a:ext uri="{FF2B5EF4-FFF2-40B4-BE49-F238E27FC236}">
                    <a16:creationId xmlns:a16="http://schemas.microsoft.com/office/drawing/2014/main" id="{5C9ECD37-D90E-4400-B264-657DDF49CF4B}"/>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ight Triangle 43">
                <a:extLst>
                  <a:ext uri="{FF2B5EF4-FFF2-40B4-BE49-F238E27FC236}">
                    <a16:creationId xmlns:a16="http://schemas.microsoft.com/office/drawing/2014/main" id="{7EB63076-83C8-4AD5-A8AE-B7B22F7F9B8D}"/>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ight Triangle 44">
                <a:extLst>
                  <a:ext uri="{FF2B5EF4-FFF2-40B4-BE49-F238E27FC236}">
                    <a16:creationId xmlns:a16="http://schemas.microsoft.com/office/drawing/2014/main" id="{C9FF0A4C-26AB-4615-BE22-C58ECC053C2B}"/>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ext Box 4">
                <a:extLst>
                  <a:ext uri="{FF2B5EF4-FFF2-40B4-BE49-F238E27FC236}">
                    <a16:creationId xmlns:a16="http://schemas.microsoft.com/office/drawing/2014/main" id="{677B5535-B806-468B-81B3-6915526179FF}"/>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35" name="Subtitle 2">
              <a:extLst>
                <a:ext uri="{FF2B5EF4-FFF2-40B4-BE49-F238E27FC236}">
                  <a16:creationId xmlns:a16="http://schemas.microsoft.com/office/drawing/2014/main" id="{2B294C86-9214-442B-B939-EBA405AE69DE}"/>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0</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6" name="Picture 35">
              <a:extLst>
                <a:ext uri="{FF2B5EF4-FFF2-40B4-BE49-F238E27FC236}">
                  <a16:creationId xmlns:a16="http://schemas.microsoft.com/office/drawing/2014/main" id="{6D8D5D91-9DEF-4187-9BDD-351B878618FB}"/>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graphicFrame>
        <p:nvGraphicFramePr>
          <p:cNvPr id="95" name="Chart 94">
            <a:extLst>
              <a:ext uri="{FF2B5EF4-FFF2-40B4-BE49-F238E27FC236}">
                <a16:creationId xmlns:a16="http://schemas.microsoft.com/office/drawing/2014/main" id="{D25BD3C8-C195-458C-9190-E0CF641D82AE}"/>
              </a:ext>
            </a:extLst>
          </p:cNvPr>
          <p:cNvGraphicFramePr>
            <a:graphicFrameLocks/>
          </p:cNvGraphicFramePr>
          <p:nvPr>
            <p:extLst>
              <p:ext uri="{D42A27DB-BD31-4B8C-83A1-F6EECF244321}">
                <p14:modId xmlns:p14="http://schemas.microsoft.com/office/powerpoint/2010/main" val="2590689275"/>
              </p:ext>
            </p:extLst>
          </p:nvPr>
        </p:nvGraphicFramePr>
        <p:xfrm>
          <a:off x="275748" y="2235745"/>
          <a:ext cx="5920515" cy="4340842"/>
        </p:xfrm>
        <a:graphic>
          <a:graphicData uri="http://schemas.openxmlformats.org/drawingml/2006/chart">
            <c:chart xmlns:c="http://schemas.openxmlformats.org/drawingml/2006/chart" xmlns:r="http://schemas.openxmlformats.org/officeDocument/2006/relationships" r:id="rId12"/>
          </a:graphicData>
        </a:graphic>
      </p:graphicFrame>
      <p:sp>
        <p:nvSpPr>
          <p:cNvPr id="97" name="Google Shape;70;p14">
            <a:extLst>
              <a:ext uri="{FF2B5EF4-FFF2-40B4-BE49-F238E27FC236}">
                <a16:creationId xmlns:a16="http://schemas.microsoft.com/office/drawing/2014/main" id="{BDE7C032-2927-4C3F-B1D9-0B80DFF1FE99}"/>
              </a:ext>
            </a:extLst>
          </p:cNvPr>
          <p:cNvSpPr txBox="1"/>
          <p:nvPr/>
        </p:nvSpPr>
        <p:spPr>
          <a:xfrm>
            <a:off x="-3319" y="1244278"/>
            <a:ext cx="9841902" cy="736859"/>
          </a:xfrm>
          <a:prstGeom prst="rect">
            <a:avLst/>
          </a:prstGeom>
          <a:solidFill>
            <a:srgbClr val="CD2C31"/>
          </a:solidFill>
          <a:ln>
            <a:noFill/>
          </a:ln>
        </p:spPr>
        <p:txBody>
          <a:bodyPr spcFirstLastPara="1" wrap="square" lIns="360000" tIns="91425" rIns="252000" bIns="91425" anchor="t" anchorCtr="0">
            <a:noAutofit/>
          </a:bodyPr>
          <a:lstStyle/>
          <a:p>
            <a:pPr algn="just">
              <a:lnSpc>
                <a:spcPct val="107000"/>
              </a:lnSpc>
              <a:spcAft>
                <a:spcPts val="800"/>
              </a:spcAft>
            </a:pPr>
            <a:r>
              <a:rPr lang="en-GB" sz="1800" b="1" dirty="0">
                <a:solidFill>
                  <a:schemeClr val="bg1"/>
                </a:solidFill>
                <a:effectLst/>
                <a:latin typeface="Tahoma" panose="020B0604030504040204" pitchFamily="34" charset="0"/>
                <a:ea typeface="Calibri" panose="020F0502020204030204" pitchFamily="34" charset="0"/>
                <a:cs typeface="Times New Roman" panose="02020603050405020304" pitchFamily="18" charset="0"/>
              </a:rPr>
              <a:t>Example analysis </a:t>
            </a:r>
            <a:r>
              <a:rPr lang="en-GB" sz="1800" dirty="0">
                <a:solidFill>
                  <a:schemeClr val="bg1"/>
                </a:solidFill>
                <a:effectLst/>
                <a:latin typeface="Tahoma" panose="020B0604030504040204" pitchFamily="34" charset="0"/>
                <a:ea typeface="Calibri" panose="020F0502020204030204" pitchFamily="34" charset="0"/>
                <a:cs typeface="Times New Roman" panose="02020603050405020304" pitchFamily="18" charset="0"/>
              </a:rPr>
              <a:t>– recent simulation results of bus routes in a UK city with challenging winter conditions/inner-urban and outer-urban environments:</a:t>
            </a:r>
            <a:endParaRPr lang="en-GB"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Right Brace 2">
            <a:extLst>
              <a:ext uri="{FF2B5EF4-FFF2-40B4-BE49-F238E27FC236}">
                <a16:creationId xmlns:a16="http://schemas.microsoft.com/office/drawing/2014/main" id="{B0A25D9C-F083-4BBA-A4E2-EF15AF63E882}"/>
              </a:ext>
            </a:extLst>
          </p:cNvPr>
          <p:cNvSpPr/>
          <p:nvPr/>
        </p:nvSpPr>
        <p:spPr>
          <a:xfrm>
            <a:off x="4054642" y="2482677"/>
            <a:ext cx="2592000" cy="1260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 name="TextBox 3">
            <a:extLst>
              <a:ext uri="{FF2B5EF4-FFF2-40B4-BE49-F238E27FC236}">
                <a16:creationId xmlns:a16="http://schemas.microsoft.com/office/drawing/2014/main" id="{C434B6DE-5879-45EA-805A-C090DA968B09}"/>
              </a:ext>
            </a:extLst>
          </p:cNvPr>
          <p:cNvSpPr txBox="1"/>
          <p:nvPr/>
        </p:nvSpPr>
        <p:spPr>
          <a:xfrm>
            <a:off x="6810010" y="2651012"/>
            <a:ext cx="3741685" cy="923330"/>
          </a:xfrm>
          <a:prstGeom prst="rect">
            <a:avLst/>
          </a:prstGeom>
          <a:noFill/>
        </p:spPr>
        <p:txBody>
          <a:bodyPr wrap="square" rtlCol="0">
            <a:spAutoFit/>
          </a:bodyPr>
          <a:lstStyle/>
          <a:p>
            <a:r>
              <a:rPr lang="en-GB" dirty="0">
                <a:latin typeface="Tahoma" panose="020B0604030504040204" pitchFamily="34" charset="0"/>
                <a:ea typeface="Tahoma" panose="020B0604030504040204" pitchFamily="34" charset="0"/>
                <a:cs typeface="Tahoma" panose="020B0604030504040204" pitchFamily="34" charset="0"/>
              </a:rPr>
              <a:t>Suitable for the inner-urban style routes with lower daily mileage </a:t>
            </a:r>
            <a:r>
              <a:rPr lang="en-GB" b="1" dirty="0">
                <a:latin typeface="Tahoma" panose="020B0604030504040204" pitchFamily="34" charset="0"/>
                <a:ea typeface="Tahoma" panose="020B0604030504040204" pitchFamily="34" charset="0"/>
                <a:cs typeface="Tahoma" panose="020B0604030504040204" pitchFamily="34" charset="0"/>
              </a:rPr>
              <a:t>(approx. 35% of routes).</a:t>
            </a:r>
          </a:p>
        </p:txBody>
      </p:sp>
      <p:sp>
        <p:nvSpPr>
          <p:cNvPr id="98" name="Right Brace 97">
            <a:extLst>
              <a:ext uri="{FF2B5EF4-FFF2-40B4-BE49-F238E27FC236}">
                <a16:creationId xmlns:a16="http://schemas.microsoft.com/office/drawing/2014/main" id="{02B44E4E-114E-4689-B8F8-950E4E672353}"/>
              </a:ext>
            </a:extLst>
          </p:cNvPr>
          <p:cNvSpPr/>
          <p:nvPr/>
        </p:nvSpPr>
        <p:spPr>
          <a:xfrm>
            <a:off x="4900263" y="3981238"/>
            <a:ext cx="1746379" cy="185076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9" name="TextBox 98">
            <a:extLst>
              <a:ext uri="{FF2B5EF4-FFF2-40B4-BE49-F238E27FC236}">
                <a16:creationId xmlns:a16="http://schemas.microsoft.com/office/drawing/2014/main" id="{5EE2FCD7-ECB1-44DD-B4F4-2CDC4D31FB6A}"/>
              </a:ext>
            </a:extLst>
          </p:cNvPr>
          <p:cNvSpPr txBox="1"/>
          <p:nvPr/>
        </p:nvSpPr>
        <p:spPr>
          <a:xfrm>
            <a:off x="6733588" y="4444954"/>
            <a:ext cx="4379836" cy="923330"/>
          </a:xfrm>
          <a:prstGeom prst="rect">
            <a:avLst/>
          </a:prstGeom>
          <a:noFill/>
        </p:spPr>
        <p:txBody>
          <a:bodyPr wrap="square" rtlCol="0">
            <a:spAutoFit/>
          </a:bodyPr>
          <a:lstStyle/>
          <a:p>
            <a:r>
              <a:rPr lang="en-GB" dirty="0">
                <a:latin typeface="Tahoma" panose="020B0604030504040204" pitchFamily="34" charset="0"/>
                <a:ea typeface="Tahoma" panose="020B0604030504040204" pitchFamily="34" charset="0"/>
                <a:cs typeface="Tahoma" panose="020B0604030504040204" pitchFamily="34" charset="0"/>
              </a:rPr>
              <a:t>Suitable for </a:t>
            </a:r>
            <a:r>
              <a:rPr lang="en-GB" b="1" dirty="0">
                <a:latin typeface="Tahoma" panose="020B0604030504040204" pitchFamily="34" charset="0"/>
                <a:ea typeface="Tahoma" panose="020B0604030504040204" pitchFamily="34" charset="0"/>
                <a:cs typeface="Tahoma" panose="020B0604030504040204" pitchFamily="34" charset="0"/>
              </a:rPr>
              <a:t>BOTH</a:t>
            </a:r>
            <a:r>
              <a:rPr lang="en-GB" dirty="0">
                <a:latin typeface="Tahoma" panose="020B0604030504040204" pitchFamily="34" charset="0"/>
                <a:ea typeface="Tahoma" panose="020B0604030504040204" pitchFamily="34" charset="0"/>
                <a:cs typeface="Tahoma" panose="020B0604030504040204" pitchFamily="34" charset="0"/>
              </a:rPr>
              <a:t> the inner-urban and outer-urban style routes with high daily mileage </a:t>
            </a:r>
            <a:r>
              <a:rPr lang="en-GB" b="1" dirty="0">
                <a:latin typeface="Tahoma" panose="020B0604030504040204" pitchFamily="34" charset="0"/>
                <a:ea typeface="Tahoma" panose="020B0604030504040204" pitchFamily="34" charset="0"/>
                <a:cs typeface="Tahoma" panose="020B0604030504040204" pitchFamily="34" charset="0"/>
              </a:rPr>
              <a:t>(approx. 65% of routes).</a:t>
            </a:r>
          </a:p>
        </p:txBody>
      </p:sp>
    </p:spTree>
    <p:extLst>
      <p:ext uri="{BB962C8B-B14F-4D97-AF65-F5344CB8AC3E}">
        <p14:creationId xmlns:p14="http://schemas.microsoft.com/office/powerpoint/2010/main" val="131564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3" name="Rectangle 2">
            <a:extLst>
              <a:ext uri="{FF2B5EF4-FFF2-40B4-BE49-F238E27FC236}">
                <a16:creationId xmlns:a16="http://schemas.microsoft.com/office/drawing/2014/main" id="{CB4B434D-A0A6-47B4-BEBA-C066E076DB4E}"/>
              </a:ext>
            </a:extLst>
          </p:cNvPr>
          <p:cNvSpPr/>
          <p:nvPr/>
        </p:nvSpPr>
        <p:spPr>
          <a:xfrm>
            <a:off x="7028597" y="110139"/>
            <a:ext cx="5163403" cy="67478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a:extLst>
              <a:ext uri="{FF2B5EF4-FFF2-40B4-BE49-F238E27FC236}">
                <a16:creationId xmlns:a16="http://schemas.microsoft.com/office/drawing/2014/main" id="{A4D0EE85-A3A1-4BED-8315-066AAF42ABD0}"/>
              </a:ext>
            </a:extLst>
          </p:cNvPr>
          <p:cNvPicPr>
            <a:picLocks noChangeAspect="1"/>
          </p:cNvPicPr>
          <p:nvPr/>
        </p:nvPicPr>
        <p:blipFill rotWithShape="1">
          <a:blip r:embed="rId5"/>
          <a:srcRect l="7846"/>
          <a:stretch/>
        </p:blipFill>
        <p:spPr>
          <a:xfrm>
            <a:off x="-504607" y="321060"/>
            <a:ext cx="7685018" cy="6536940"/>
          </a:xfrm>
          <a:prstGeom prst="rect">
            <a:avLst/>
          </a:prstGeom>
        </p:spPr>
      </p:pic>
      <p:sp>
        <p:nvSpPr>
          <p:cNvPr id="5" name="Rectangle 4">
            <a:extLst>
              <a:ext uri="{FF2B5EF4-FFF2-40B4-BE49-F238E27FC236}">
                <a16:creationId xmlns:a16="http://schemas.microsoft.com/office/drawing/2014/main" id="{95E5CF84-5413-426B-8750-88E19851FD27}"/>
              </a:ext>
            </a:extLst>
          </p:cNvPr>
          <p:cNvSpPr/>
          <p:nvPr/>
        </p:nvSpPr>
        <p:spPr>
          <a:xfrm>
            <a:off x="114318" y="-168090"/>
            <a:ext cx="12261269" cy="5247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CEEB8728-D060-4DBE-8CB9-F0389A7FDAFF}"/>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CEEB8728-D060-4DBE-8CB9-F0389A7FDAF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54E97BD2-F283-4961-9F16-F38864582FC9}"/>
              </a:ext>
            </a:extLst>
          </p:cNvPr>
          <p:cNvGrpSpPr/>
          <p:nvPr/>
        </p:nvGrpSpPr>
        <p:grpSpPr>
          <a:xfrm>
            <a:off x="0" y="0"/>
            <a:ext cx="12192000" cy="6862338"/>
            <a:chOff x="0" y="0"/>
            <a:chExt cx="12192000" cy="6862338"/>
          </a:xfrm>
        </p:grpSpPr>
        <p:sp>
          <p:nvSpPr>
            <p:cNvPr id="12" name="Rectangle 11">
              <a:extLst>
                <a:ext uri="{FF2B5EF4-FFF2-40B4-BE49-F238E27FC236}">
                  <a16:creationId xmlns:a16="http://schemas.microsoft.com/office/drawing/2014/main" id="{9AA416D9-5905-4587-B8B2-8A1EE377F43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2E1CA134-54AE-4580-9689-B001148A7BB5}"/>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ight Triangle 13">
              <a:extLst>
                <a:ext uri="{FF2B5EF4-FFF2-40B4-BE49-F238E27FC236}">
                  <a16:creationId xmlns:a16="http://schemas.microsoft.com/office/drawing/2014/main" id="{84FCED4A-7369-43F3-9486-02AC034C4C4E}"/>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D9DA79-B818-4AA2-BBC1-4FD2BCA9268E}"/>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19608F70-B70E-46E1-839C-9103DE9588D6}"/>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Box 4">
              <a:extLst>
                <a:ext uri="{FF2B5EF4-FFF2-40B4-BE49-F238E27FC236}">
                  <a16:creationId xmlns:a16="http://schemas.microsoft.com/office/drawing/2014/main" id="{460EA15F-4AE6-4D3A-8C0A-81EAA3242908}"/>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sp>
          <p:nvSpPr>
            <p:cNvPr id="19" name="Right Triangle 18">
              <a:extLst>
                <a:ext uri="{FF2B5EF4-FFF2-40B4-BE49-F238E27FC236}">
                  <a16:creationId xmlns:a16="http://schemas.microsoft.com/office/drawing/2014/main" id="{863FCFF6-096D-4EE4-84E1-F2CC4694A53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F4F85283-9839-43A1-A511-941F1FEEDFF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ight Triangle 20">
              <a:extLst>
                <a:ext uri="{FF2B5EF4-FFF2-40B4-BE49-F238E27FC236}">
                  <a16:creationId xmlns:a16="http://schemas.microsoft.com/office/drawing/2014/main" id="{290F6A2F-17FB-4847-8DB7-5C95D03220E8}"/>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Single Corner Snipped 7">
            <a:extLst>
              <a:ext uri="{FF2B5EF4-FFF2-40B4-BE49-F238E27FC236}">
                <a16:creationId xmlns:a16="http://schemas.microsoft.com/office/drawing/2014/main" id="{A3B494EF-7985-455F-BBF6-09C49C23C9EC}"/>
              </a:ext>
            </a:extLst>
          </p:cNvPr>
          <p:cNvSpPr/>
          <p:nvPr/>
        </p:nvSpPr>
        <p:spPr>
          <a:xfrm flipH="1" flipV="1">
            <a:off x="5057775" y="-101834"/>
            <a:ext cx="3829050" cy="878023"/>
          </a:xfrm>
          <a:prstGeom prst="snip1Rect">
            <a:avLst>
              <a:gd name="adj" fmla="val 28298"/>
            </a:avLst>
          </a:prstGeom>
          <a:gradFill flip="none" rotWithShape="0">
            <a:gsLst>
              <a:gs pos="35000">
                <a:schemeClr val="tx1">
                  <a:alpha val="75000"/>
                </a:schemeClr>
              </a:gs>
              <a:gs pos="0">
                <a:schemeClr val="tx1">
                  <a:alpha val="0"/>
                </a:schemeClr>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 name="Group 5">
            <a:extLst>
              <a:ext uri="{FF2B5EF4-FFF2-40B4-BE49-F238E27FC236}">
                <a16:creationId xmlns:a16="http://schemas.microsoft.com/office/drawing/2014/main" id="{57516D55-D25A-4356-AA01-19FAD9F47E58}"/>
              </a:ext>
            </a:extLst>
          </p:cNvPr>
          <p:cNvGrpSpPr/>
          <p:nvPr/>
        </p:nvGrpSpPr>
        <p:grpSpPr>
          <a:xfrm>
            <a:off x="6958197" y="1122095"/>
            <a:ext cx="5921000" cy="3776322"/>
            <a:chOff x="6830007" y="534421"/>
            <a:chExt cx="5921000" cy="3776322"/>
          </a:xfrm>
        </p:grpSpPr>
        <p:sp>
          <p:nvSpPr>
            <p:cNvPr id="40" name="Parallelogram 39">
              <a:extLst>
                <a:ext uri="{FF2B5EF4-FFF2-40B4-BE49-F238E27FC236}">
                  <a16:creationId xmlns:a16="http://schemas.microsoft.com/office/drawing/2014/main" id="{075384E0-5B66-49CB-B3B5-8046269A76D2}"/>
                </a:ext>
              </a:extLst>
            </p:cNvPr>
            <p:cNvSpPr/>
            <p:nvPr/>
          </p:nvSpPr>
          <p:spPr>
            <a:xfrm>
              <a:off x="6830007" y="648907"/>
              <a:ext cx="5921000" cy="1609104"/>
            </a:xfrm>
            <a:prstGeom prst="parallelogram">
              <a:avLst>
                <a:gd name="adj" fmla="val 32672"/>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
              <a:extLst>
                <a:ext uri="{FF2B5EF4-FFF2-40B4-BE49-F238E27FC236}">
                  <a16:creationId xmlns:a16="http://schemas.microsoft.com/office/drawing/2014/main" id="{57850337-1C91-4DAE-9042-22E30B970B6C}"/>
                </a:ext>
              </a:extLst>
            </p:cNvPr>
            <p:cNvSpPr txBox="1">
              <a:spLocks noChangeArrowheads="1"/>
            </p:cNvSpPr>
            <p:nvPr/>
          </p:nvSpPr>
          <p:spPr bwMode="auto">
            <a:xfrm>
              <a:off x="7180411" y="534421"/>
              <a:ext cx="4619000" cy="3776322"/>
            </a:xfrm>
            <a:prstGeom prst="flowChartAlternateProcess">
              <a:avLst/>
            </a:prstGeom>
            <a:noFill/>
            <a:ln>
              <a:noFill/>
            </a:ln>
          </p:spPr>
          <p:txBody>
            <a:bodyPr lIns="0" tIns="0" rIns="0" bIns="0"/>
            <a:lstStyle>
              <a:lvl1pPr eaLnBrk="0" hangingPunct="0">
                <a:defRPr>
                  <a:solidFill>
                    <a:schemeClr val="tx1"/>
                  </a:solidFill>
                  <a:latin typeface="Calibri" panose="020F0502020204030204" pitchFamily="34" charset="0"/>
                  <a:ea typeface="MS PGothic" panose="020B0600070205080204" pitchFamily="34" charset="-128"/>
                </a:defRPr>
              </a:lvl1pPr>
              <a:lvl2pPr marL="742950" indent="-285750" eaLnBrk="0" hangingPunct="0">
                <a:defRPr>
                  <a:solidFill>
                    <a:schemeClr val="tx1"/>
                  </a:solidFill>
                  <a:latin typeface="Calibri" panose="020F0502020204030204" pitchFamily="34" charset="0"/>
                  <a:ea typeface="MS PGothic" panose="020B0600070205080204" pitchFamily="34" charset="-128"/>
                </a:defRPr>
              </a:lvl2pPr>
              <a:lvl3pPr marL="1143000" indent="-228600" eaLnBrk="0" hangingPunct="0">
                <a:defRPr>
                  <a:solidFill>
                    <a:schemeClr val="tx1"/>
                  </a:solidFill>
                  <a:latin typeface="Calibri" panose="020F0502020204030204" pitchFamily="34" charset="0"/>
                  <a:ea typeface="MS PGothic" panose="020B0600070205080204" pitchFamily="34" charset="-128"/>
                </a:defRPr>
              </a:lvl3pPr>
              <a:lvl4pPr marL="1600200" indent="-228600" eaLnBrk="0" hangingPunct="0">
                <a:defRPr>
                  <a:solidFill>
                    <a:schemeClr val="tx1"/>
                  </a:solidFill>
                  <a:latin typeface="Calibri" panose="020F0502020204030204" pitchFamily="34" charset="0"/>
                  <a:ea typeface="MS PGothic" panose="020B0600070205080204" pitchFamily="34" charset="-128"/>
                </a:defRPr>
              </a:lvl4pPr>
              <a:lvl5pPr marL="2057400" indent="-228600" eaLnBrk="0" hangingPunct="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H</a:t>
              </a:r>
              <a:r>
                <a:rPr lang="en-GB" sz="3200" b="1" baseline="-25000" dirty="0">
                  <a:solidFill>
                    <a:schemeClr val="bg1"/>
                  </a:solidFill>
                  <a:latin typeface="Tahoma" panose="020B0604030504040204" pitchFamily="34" charset="0"/>
                  <a:ea typeface="Tahoma" panose="020B0604030504040204" pitchFamily="34" charset="0"/>
                  <a:cs typeface="Tahoma" panose="020B0604030504040204" pitchFamily="34" charset="0"/>
                </a:rPr>
                <a:t>2</a:t>
              </a:r>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 Mobility: </a:t>
              </a:r>
              <a:r>
                <a:rPr lang="en-GB" sz="3200" b="1" dirty="0" err="1">
                  <a:solidFill>
                    <a:schemeClr val="bg1"/>
                  </a:solidFill>
                  <a:latin typeface="Tahoma" panose="020B0604030504040204" pitchFamily="34" charset="0"/>
                  <a:ea typeface="Tahoma" panose="020B0604030504040204" pitchFamily="34" charset="0"/>
                  <a:cs typeface="Tahoma" panose="020B0604030504040204" pitchFamily="34" charset="0"/>
                </a:rPr>
                <a:t>Wrightbus</a:t>
              </a:r>
              <a:r>
                <a:rPr lang="en-GB" sz="3200" b="1" dirty="0">
                  <a:solidFill>
                    <a:schemeClr val="bg1"/>
                  </a:solidFill>
                  <a:latin typeface="Tahoma" panose="020B0604030504040204" pitchFamily="34" charset="0"/>
                  <a:ea typeface="Tahoma" panose="020B0604030504040204" pitchFamily="34" charset="0"/>
                  <a:cs typeface="Tahoma" panose="020B0604030504040204" pitchFamily="34" charset="0"/>
                </a:rPr>
                <a:t> Hydrogen Fuel-Cell Buses</a:t>
              </a:r>
            </a:p>
            <a:p>
              <a:pPr algn="ctr" eaLnBrk="1" hangingPunct="1"/>
              <a:endParaRPr lang="en-GB" sz="24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r>
                <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rPr>
                <a:t>Thanks for Listening!</a:t>
              </a:r>
            </a:p>
            <a:p>
              <a:pPr algn="ctr" eaLnBrk="1" hangingPunct="1"/>
              <a:endPar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r>
                <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rPr>
                <a:t>Dr Robert Best</a:t>
              </a:r>
              <a:br>
                <a:rPr lang="en-GB" sz="28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Director of Engineering</a:t>
              </a:r>
            </a:p>
            <a:p>
              <a:pPr algn="ctr" eaLnBrk="1" hangingPunct="1"/>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Bamford Bus Company T/A </a:t>
              </a:r>
              <a:r>
                <a:rPr lang="en-GB" sz="2000" dirty="0" err="1">
                  <a:solidFill>
                    <a:schemeClr val="bg1"/>
                  </a:solidFill>
                  <a:latin typeface="Tahoma" panose="020B0604030504040204" pitchFamily="34" charset="0"/>
                  <a:ea typeface="Tahoma" panose="020B0604030504040204" pitchFamily="34" charset="0"/>
                  <a:cs typeface="Tahoma" panose="020B0604030504040204" pitchFamily="34" charset="0"/>
                </a:rPr>
                <a:t>Wrightbus</a:t>
              </a:r>
              <a:endParaRPr lang="en-GB" sz="2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endParaRPr lang="en-GB"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r>
                <a:rPr lang="en-GB" sz="2000" b="1" dirty="0">
                  <a:solidFill>
                    <a:schemeClr val="bg1"/>
                  </a:solidFill>
                  <a:latin typeface="Tahoma" panose="020B0604030504040204" pitchFamily="34" charset="0"/>
                  <a:ea typeface="Tahoma" panose="020B0604030504040204" pitchFamily="34" charset="0"/>
                  <a:cs typeface="Tahoma" panose="020B0604030504040204" pitchFamily="34" charset="0"/>
                </a:rPr>
                <a:t>15/04/2021</a:t>
              </a:r>
              <a:endParaRPr lang="en-GB" sz="2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eaLnBrk="1" hangingPunct="1"/>
              <a:endParaRPr lang="en-GB" altLang="en-US" sz="6600" dirty="0">
                <a:solidFill>
                  <a:schemeClr val="bg1"/>
                </a:solidFill>
                <a:effectLst>
                  <a:outerShdw blurRad="63500" sx="102000" sy="102000" algn="ctr" rotWithShape="0">
                    <a:prstClr val="black">
                      <a:alpha val="90000"/>
                    </a:prstClr>
                  </a:outerShdw>
                </a:effectLst>
                <a:latin typeface="Tahoma" panose="020B0604030504040204" pitchFamily="34" charset="0"/>
                <a:ea typeface="Tahoma" panose="020B0604030504040204" pitchFamily="34" charset="0"/>
                <a:cs typeface="Tahoma" panose="020B0604030504040204" pitchFamily="34" charset="0"/>
                <a:sym typeface="Roboto"/>
              </a:endParaRPr>
            </a:p>
          </p:txBody>
        </p:sp>
      </p:grpSp>
      <p:sp>
        <p:nvSpPr>
          <p:cNvPr id="34" name="Subtitle 2">
            <a:extLst>
              <a:ext uri="{FF2B5EF4-FFF2-40B4-BE49-F238E27FC236}">
                <a16:creationId xmlns:a16="http://schemas.microsoft.com/office/drawing/2014/main" id="{FBD868E8-C385-4A68-A56E-B55EB3A59146}"/>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1</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25" name="Group 24">
            <a:extLst>
              <a:ext uri="{FF2B5EF4-FFF2-40B4-BE49-F238E27FC236}">
                <a16:creationId xmlns:a16="http://schemas.microsoft.com/office/drawing/2014/main" id="{B964448A-4126-4648-B992-5DADFF37DD32}"/>
              </a:ext>
            </a:extLst>
          </p:cNvPr>
          <p:cNvGrpSpPr/>
          <p:nvPr/>
        </p:nvGrpSpPr>
        <p:grpSpPr>
          <a:xfrm>
            <a:off x="0" y="0"/>
            <a:ext cx="12751007" cy="6886993"/>
            <a:chOff x="0" y="0"/>
            <a:chExt cx="12751007" cy="6886993"/>
          </a:xfrm>
        </p:grpSpPr>
        <p:grpSp>
          <p:nvGrpSpPr>
            <p:cNvPr id="26" name="Group 25">
              <a:extLst>
                <a:ext uri="{FF2B5EF4-FFF2-40B4-BE49-F238E27FC236}">
                  <a16:creationId xmlns:a16="http://schemas.microsoft.com/office/drawing/2014/main" id="{FADF6CA2-6E2C-4230-B334-CF77A38C67B9}"/>
                </a:ext>
              </a:extLst>
            </p:cNvPr>
            <p:cNvGrpSpPr/>
            <p:nvPr/>
          </p:nvGrpSpPr>
          <p:grpSpPr>
            <a:xfrm>
              <a:off x="0" y="0"/>
              <a:ext cx="12751007" cy="6886993"/>
              <a:chOff x="0" y="0"/>
              <a:chExt cx="12751007" cy="6886993"/>
            </a:xfrm>
          </p:grpSpPr>
          <p:sp>
            <p:nvSpPr>
              <p:cNvPr id="30" name="Rectangle 29">
                <a:extLst>
                  <a:ext uri="{FF2B5EF4-FFF2-40B4-BE49-F238E27FC236}">
                    <a16:creationId xmlns:a16="http://schemas.microsoft.com/office/drawing/2014/main" id="{12E7C62A-52B7-44C5-A42E-6A6E6864CF32}"/>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ight Triangle 30">
                <a:extLst>
                  <a:ext uri="{FF2B5EF4-FFF2-40B4-BE49-F238E27FC236}">
                    <a16:creationId xmlns:a16="http://schemas.microsoft.com/office/drawing/2014/main" id="{AC8C502A-8A27-4F2A-ABD1-E1C45143D657}"/>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ight Triangle 31">
                <a:extLst>
                  <a:ext uri="{FF2B5EF4-FFF2-40B4-BE49-F238E27FC236}">
                    <a16:creationId xmlns:a16="http://schemas.microsoft.com/office/drawing/2014/main" id="{6F3AEB4B-F386-49DF-AF50-7AE384987385}"/>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975420BC-D9BD-4A8C-9C12-6F0EB4238213}"/>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204D2B0F-E6F6-4AFC-AEBC-97F7F4B1E914}"/>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ight Triangle 35">
                <a:extLst>
                  <a:ext uri="{FF2B5EF4-FFF2-40B4-BE49-F238E27FC236}">
                    <a16:creationId xmlns:a16="http://schemas.microsoft.com/office/drawing/2014/main" id="{4EADCF2B-FD58-4045-9D53-026038270FB5}"/>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ight Triangle 36">
                <a:extLst>
                  <a:ext uri="{FF2B5EF4-FFF2-40B4-BE49-F238E27FC236}">
                    <a16:creationId xmlns:a16="http://schemas.microsoft.com/office/drawing/2014/main" id="{F70B9548-3366-40F4-8385-B68B7CBA2CF2}"/>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ight Triangle 37">
                <a:extLst>
                  <a:ext uri="{FF2B5EF4-FFF2-40B4-BE49-F238E27FC236}">
                    <a16:creationId xmlns:a16="http://schemas.microsoft.com/office/drawing/2014/main" id="{353F6730-59EE-40CA-B5FC-CCC4571240C9}"/>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Box 4">
                <a:extLst>
                  <a:ext uri="{FF2B5EF4-FFF2-40B4-BE49-F238E27FC236}">
                    <a16:creationId xmlns:a16="http://schemas.microsoft.com/office/drawing/2014/main" id="{432A5686-73BC-447B-9073-175D35B771D5}"/>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27" name="Subtitle 2">
              <a:extLst>
                <a:ext uri="{FF2B5EF4-FFF2-40B4-BE49-F238E27FC236}">
                  <a16:creationId xmlns:a16="http://schemas.microsoft.com/office/drawing/2014/main" id="{122436A6-BFAE-4E4D-9677-59F1BA584545}"/>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11</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9" name="Picture 28">
              <a:extLst>
                <a:ext uri="{FF2B5EF4-FFF2-40B4-BE49-F238E27FC236}">
                  <a16:creationId xmlns:a16="http://schemas.microsoft.com/office/drawing/2014/main" id="{424CCA48-51CD-423D-A910-92D91B3D6698}"/>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356251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oup 79">
            <a:extLst>
              <a:ext uri="{FF2B5EF4-FFF2-40B4-BE49-F238E27FC236}">
                <a16:creationId xmlns:a16="http://schemas.microsoft.com/office/drawing/2014/main" id="{2051DADE-3837-4D9B-A759-3B7B36A86A01}"/>
              </a:ext>
            </a:extLst>
          </p:cNvPr>
          <p:cNvGrpSpPr/>
          <p:nvPr/>
        </p:nvGrpSpPr>
        <p:grpSpPr>
          <a:xfrm>
            <a:off x="-3" y="-4338"/>
            <a:ext cx="12192004" cy="6765906"/>
            <a:chOff x="-3" y="-4338"/>
            <a:chExt cx="12192004" cy="6765906"/>
          </a:xfrm>
        </p:grpSpPr>
        <p:pic>
          <p:nvPicPr>
            <p:cNvPr id="26" name="Picture 25">
              <a:extLst>
                <a:ext uri="{FF2B5EF4-FFF2-40B4-BE49-F238E27FC236}">
                  <a16:creationId xmlns:a16="http://schemas.microsoft.com/office/drawing/2014/main" id="{0CFCB867-A370-4290-9AC1-9A573D7FF5B7}"/>
                </a:ext>
              </a:extLst>
            </p:cNvPr>
            <p:cNvPicPr>
              <a:picLocks noChangeAspect="1"/>
            </p:cNvPicPr>
            <p:nvPr/>
          </p:nvPicPr>
          <p:blipFill rotWithShape="1">
            <a:blip r:embed="rId2">
              <a:extLst>
                <a:ext uri="{28A0092B-C50C-407E-A947-70E740481C1C}">
                  <a14:useLocalDpi xmlns:a14="http://schemas.microsoft.com/office/drawing/2010/main" val="0"/>
                </a:ext>
              </a:extLst>
            </a:blip>
            <a:srcRect t="2250" r="6495"/>
            <a:stretch/>
          </p:blipFill>
          <p:spPr>
            <a:xfrm>
              <a:off x="2540293" y="-4338"/>
              <a:ext cx="9651708" cy="6726513"/>
            </a:xfrm>
            <a:prstGeom prst="rect">
              <a:avLst/>
            </a:prstGeom>
          </p:spPr>
        </p:pic>
        <p:sp>
          <p:nvSpPr>
            <p:cNvPr id="72" name="Rectangle 71">
              <a:extLst>
                <a:ext uri="{FF2B5EF4-FFF2-40B4-BE49-F238E27FC236}">
                  <a16:creationId xmlns:a16="http://schemas.microsoft.com/office/drawing/2014/main" id="{CE98F7F2-B8CF-42F8-9E66-7630D2E6FEE1}"/>
                </a:ext>
              </a:extLst>
            </p:cNvPr>
            <p:cNvSpPr/>
            <p:nvPr/>
          </p:nvSpPr>
          <p:spPr>
            <a:xfrm>
              <a:off x="-3" y="912772"/>
              <a:ext cx="2640565" cy="58487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71" name="Rectangle 70">
            <a:extLst>
              <a:ext uri="{FF2B5EF4-FFF2-40B4-BE49-F238E27FC236}">
                <a16:creationId xmlns:a16="http://schemas.microsoft.com/office/drawing/2014/main" id="{2DE7FE96-9A4D-4E5F-8C00-FA7B72B7905C}"/>
              </a:ext>
            </a:extLst>
          </p:cNvPr>
          <p:cNvSpPr/>
          <p:nvPr/>
        </p:nvSpPr>
        <p:spPr>
          <a:xfrm>
            <a:off x="0" y="-2"/>
            <a:ext cx="11113424" cy="108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885A858B-79C5-47D0-9D85-C06A30CFBD8B}"/>
              </a:ext>
            </a:extLst>
          </p:cNvPr>
          <p:cNvGrpSpPr/>
          <p:nvPr/>
        </p:nvGrpSpPr>
        <p:grpSpPr>
          <a:xfrm>
            <a:off x="-2" y="4140"/>
            <a:ext cx="12192002" cy="6858198"/>
            <a:chOff x="-2" y="4140"/>
            <a:chExt cx="12192002" cy="6858198"/>
          </a:xfrm>
        </p:grpSpPr>
        <p:sp>
          <p:nvSpPr>
            <p:cNvPr id="16" name="Rectangle 15">
              <a:extLst>
                <a:ext uri="{FF2B5EF4-FFF2-40B4-BE49-F238E27FC236}">
                  <a16:creationId xmlns:a16="http://schemas.microsoft.com/office/drawing/2014/main" id="{1B39ACBD-682D-4230-AF8C-0848C0ABD33C}"/>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ight Triangle 16">
              <a:extLst>
                <a:ext uri="{FF2B5EF4-FFF2-40B4-BE49-F238E27FC236}">
                  <a16:creationId xmlns:a16="http://schemas.microsoft.com/office/drawing/2014/main" id="{0D26B6A4-60DA-4E9C-90F6-E6FA094BA9E7}"/>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ight Triangle 17">
              <a:extLst>
                <a:ext uri="{FF2B5EF4-FFF2-40B4-BE49-F238E27FC236}">
                  <a16:creationId xmlns:a16="http://schemas.microsoft.com/office/drawing/2014/main" id="{37FC669A-4D1B-4E00-818A-CA74A3875884}"/>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9875B634-224F-480E-962C-B7427E9BE36F}"/>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3232B1FA-D75E-45CC-81C9-621790B47C23}"/>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Box 4">
              <a:extLst>
                <a:ext uri="{FF2B5EF4-FFF2-40B4-BE49-F238E27FC236}">
                  <a16:creationId xmlns:a16="http://schemas.microsoft.com/office/drawing/2014/main" id="{92C5B42F-EE86-4C0D-81E6-C78289C21AC2}"/>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22" name="Picture 21" descr="Logo, icon&#10;&#10;Description automatically generated">
              <a:extLst>
                <a:ext uri="{FF2B5EF4-FFF2-40B4-BE49-F238E27FC236}">
                  <a16:creationId xmlns:a16="http://schemas.microsoft.com/office/drawing/2014/main" id="{E6BB518F-285B-47F7-8081-EAFC6682B4A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23" name="Right Triangle 22">
              <a:extLst>
                <a:ext uri="{FF2B5EF4-FFF2-40B4-BE49-F238E27FC236}">
                  <a16:creationId xmlns:a16="http://schemas.microsoft.com/office/drawing/2014/main" id="{204D451F-04C8-412A-8B4D-8CDC1DACB108}"/>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ight Triangle 23">
              <a:extLst>
                <a:ext uri="{FF2B5EF4-FFF2-40B4-BE49-F238E27FC236}">
                  <a16:creationId xmlns:a16="http://schemas.microsoft.com/office/drawing/2014/main" id="{3D6022F0-A424-4CFE-A24A-DB8C433096EC}"/>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ight Triangle 24">
              <a:extLst>
                <a:ext uri="{FF2B5EF4-FFF2-40B4-BE49-F238E27FC236}">
                  <a16:creationId xmlns:a16="http://schemas.microsoft.com/office/drawing/2014/main" id="{2454E14C-B07C-4A69-80C4-91BFC626653C}"/>
                </a:ext>
              </a:extLst>
            </p:cNvPr>
            <p:cNvSpPr/>
            <p:nvPr userDrawn="1"/>
          </p:nvSpPr>
          <p:spPr>
            <a:xfrm flipV="1">
              <a:off x="-2" y="414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3" name="Rectangle 72">
            <a:extLst>
              <a:ext uri="{FF2B5EF4-FFF2-40B4-BE49-F238E27FC236}">
                <a16:creationId xmlns:a16="http://schemas.microsoft.com/office/drawing/2014/main" id="{5805D7EE-6BE0-4B69-A446-636B23DC5C03}"/>
              </a:ext>
            </a:extLst>
          </p:cNvPr>
          <p:cNvSpPr/>
          <p:nvPr/>
        </p:nvSpPr>
        <p:spPr>
          <a:xfrm>
            <a:off x="2360292" y="1079998"/>
            <a:ext cx="5382747" cy="5642177"/>
          </a:xfrm>
          <a:prstGeom prst="rect">
            <a:avLst/>
          </a:prstGeom>
          <a:gradFill flip="none" rotWithShape="1">
            <a:gsLst>
              <a:gs pos="81000">
                <a:srgbClr val="55535B"/>
              </a:gs>
              <a:gs pos="0">
                <a:schemeClr val="tx1"/>
              </a:gs>
              <a:gs pos="100000">
                <a:srgbClr val="55535B">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6" name="Group 75">
            <a:extLst>
              <a:ext uri="{FF2B5EF4-FFF2-40B4-BE49-F238E27FC236}">
                <a16:creationId xmlns:a16="http://schemas.microsoft.com/office/drawing/2014/main" id="{5794EF7E-2502-49DE-9618-07AF83CEB90A}"/>
              </a:ext>
            </a:extLst>
          </p:cNvPr>
          <p:cNvGrpSpPr/>
          <p:nvPr/>
        </p:nvGrpSpPr>
        <p:grpSpPr>
          <a:xfrm>
            <a:off x="0" y="1284503"/>
            <a:ext cx="7199998" cy="4964165"/>
            <a:chOff x="0" y="1284503"/>
            <a:chExt cx="7199998" cy="4964165"/>
          </a:xfrm>
          <a:solidFill>
            <a:srgbClr val="00B050"/>
          </a:solidFill>
        </p:grpSpPr>
        <p:sp>
          <p:nvSpPr>
            <p:cNvPr id="30" name="Rectangle 29">
              <a:extLst>
                <a:ext uri="{FF2B5EF4-FFF2-40B4-BE49-F238E27FC236}">
                  <a16:creationId xmlns:a16="http://schemas.microsoft.com/office/drawing/2014/main" id="{D39BFF03-E097-47C1-B554-FF3EAD06F405}"/>
                </a:ext>
              </a:extLst>
            </p:cNvPr>
            <p:cNvSpPr/>
            <p:nvPr/>
          </p:nvSpPr>
          <p:spPr>
            <a:xfrm flipH="1">
              <a:off x="1" y="1284503"/>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Founded in 1946 in Ballymena, Northern Ireland.</a:t>
              </a:r>
            </a:p>
          </p:txBody>
        </p:sp>
        <p:sp>
          <p:nvSpPr>
            <p:cNvPr id="34" name="Rectangle 33">
              <a:extLst>
                <a:ext uri="{FF2B5EF4-FFF2-40B4-BE49-F238E27FC236}">
                  <a16:creationId xmlns:a16="http://schemas.microsoft.com/office/drawing/2014/main" id="{DA546418-3B6B-404D-890B-5D94C1FA31B0}"/>
                </a:ext>
              </a:extLst>
            </p:cNvPr>
            <p:cNvSpPr/>
            <p:nvPr/>
          </p:nvSpPr>
          <p:spPr>
            <a:xfrm flipH="1">
              <a:off x="1" y="1765524"/>
              <a:ext cx="7199997" cy="61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Global, multi-award winning brand with sales in UK, Europe, Asia, South &amp; North America.</a:t>
              </a:r>
            </a:p>
          </p:txBody>
        </p:sp>
        <p:sp>
          <p:nvSpPr>
            <p:cNvPr id="40" name="Rectangle 39">
              <a:extLst>
                <a:ext uri="{FF2B5EF4-FFF2-40B4-BE49-F238E27FC236}">
                  <a16:creationId xmlns:a16="http://schemas.microsoft.com/office/drawing/2014/main" id="{DBF2632F-D497-45B3-BD33-18D423797B96}"/>
                </a:ext>
              </a:extLst>
            </p:cNvPr>
            <p:cNvSpPr/>
            <p:nvPr/>
          </p:nvSpPr>
          <p:spPr>
            <a:xfrm flipH="1">
              <a:off x="1" y="2498545"/>
              <a:ext cx="7199997" cy="61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UK's leading independent supplier of low-floor accessible </a:t>
              </a:r>
              <a:br>
                <a:rPr lang="en-GB"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buses and pioneer of lightweight aluminium bodywork.</a:t>
              </a:r>
            </a:p>
          </p:txBody>
        </p:sp>
        <p:sp>
          <p:nvSpPr>
            <p:cNvPr id="46" name="Rectangle 45">
              <a:extLst>
                <a:ext uri="{FF2B5EF4-FFF2-40B4-BE49-F238E27FC236}">
                  <a16:creationId xmlns:a16="http://schemas.microsoft.com/office/drawing/2014/main" id="{9FADD9F9-411D-4FB0-BA06-4A09C524AA3C}"/>
                </a:ext>
              </a:extLst>
            </p:cNvPr>
            <p:cNvSpPr/>
            <p:nvPr/>
          </p:nvSpPr>
          <p:spPr>
            <a:xfrm flipH="1">
              <a:off x="1" y="3231566"/>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20000"/>
                </a:lnSpc>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gt;70 years’ experience in vehicle body-building.</a:t>
              </a:r>
            </a:p>
          </p:txBody>
        </p:sp>
        <p:sp>
          <p:nvSpPr>
            <p:cNvPr id="49" name="Rectangle 48">
              <a:extLst>
                <a:ext uri="{FF2B5EF4-FFF2-40B4-BE49-F238E27FC236}">
                  <a16:creationId xmlns:a16="http://schemas.microsoft.com/office/drawing/2014/main" id="{6F763244-6C55-4235-8467-CEC8A48604EE}"/>
                </a:ext>
              </a:extLst>
            </p:cNvPr>
            <p:cNvSpPr/>
            <p:nvPr/>
          </p:nvSpPr>
          <p:spPr>
            <a:xfrm flipH="1">
              <a:off x="1" y="3712587"/>
              <a:ext cx="7199997" cy="61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gt;20 years' experience producing low and zero-tailpipe-emissions vehicles: hybrid, EV and hydrogen fuel-cell.</a:t>
              </a:r>
            </a:p>
          </p:txBody>
        </p:sp>
        <p:sp>
          <p:nvSpPr>
            <p:cNvPr id="55" name="Rectangle 54">
              <a:extLst>
                <a:ext uri="{FF2B5EF4-FFF2-40B4-BE49-F238E27FC236}">
                  <a16:creationId xmlns:a16="http://schemas.microsoft.com/office/drawing/2014/main" id="{E3898132-7EC1-4964-BA6C-59EED1FD8362}"/>
                </a:ext>
              </a:extLst>
            </p:cNvPr>
            <p:cNvSpPr/>
            <p:nvPr/>
          </p:nvSpPr>
          <p:spPr>
            <a:xfrm flipH="1">
              <a:off x="0" y="4445608"/>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20000"/>
                </a:lnSpc>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Manufacturer of the iconic London </a:t>
              </a:r>
              <a:r>
                <a:rPr lang="en-GB" dirty="0" err="1">
                  <a:solidFill>
                    <a:schemeClr val="bg1"/>
                  </a:solidFill>
                  <a:latin typeface="Tahoma" panose="020B0604030504040204" pitchFamily="34" charset="0"/>
                  <a:ea typeface="Tahoma" panose="020B0604030504040204" pitchFamily="34" charset="0"/>
                  <a:cs typeface="Tahoma" panose="020B0604030504040204" pitchFamily="34" charset="0"/>
                </a:rPr>
                <a:t>Routemaster</a:t>
              </a: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pictured right).</a:t>
              </a:r>
            </a:p>
          </p:txBody>
        </p:sp>
        <p:sp>
          <p:nvSpPr>
            <p:cNvPr id="61" name="Rectangle 60">
              <a:extLst>
                <a:ext uri="{FF2B5EF4-FFF2-40B4-BE49-F238E27FC236}">
                  <a16:creationId xmlns:a16="http://schemas.microsoft.com/office/drawing/2014/main" id="{9EB8245C-FEE0-45D2-82C5-B3EE9F762ECA}"/>
                </a:ext>
              </a:extLst>
            </p:cNvPr>
            <p:cNvSpPr/>
            <p:nvPr/>
          </p:nvSpPr>
          <p:spPr>
            <a:xfrm flipH="1">
              <a:off x="1" y="5407650"/>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20000"/>
                </a:lnSpc>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Joint research centre with Queen’s University, Belfast.</a:t>
              </a:r>
            </a:p>
          </p:txBody>
        </p:sp>
        <p:sp>
          <p:nvSpPr>
            <p:cNvPr id="64" name="Rectangle 63">
              <a:extLst>
                <a:ext uri="{FF2B5EF4-FFF2-40B4-BE49-F238E27FC236}">
                  <a16:creationId xmlns:a16="http://schemas.microsoft.com/office/drawing/2014/main" id="{920EA2CC-9D97-4A29-AB62-83001343F4E3}"/>
                </a:ext>
              </a:extLst>
            </p:cNvPr>
            <p:cNvSpPr/>
            <p:nvPr/>
          </p:nvSpPr>
          <p:spPr>
            <a:xfrm flipH="1">
              <a:off x="1" y="4926629"/>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20000"/>
                </a:lnSpc>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2019 saw new ownership via Jo Bamford and JCB.</a:t>
              </a:r>
            </a:p>
          </p:txBody>
        </p:sp>
        <p:sp>
          <p:nvSpPr>
            <p:cNvPr id="67" name="Rectangle 66">
              <a:extLst>
                <a:ext uri="{FF2B5EF4-FFF2-40B4-BE49-F238E27FC236}">
                  <a16:creationId xmlns:a16="http://schemas.microsoft.com/office/drawing/2014/main" id="{9943544C-0314-4BDE-A86C-8BA29BBF8E6D}"/>
                </a:ext>
              </a:extLst>
            </p:cNvPr>
            <p:cNvSpPr/>
            <p:nvPr/>
          </p:nvSpPr>
          <p:spPr>
            <a:xfrm flipH="1">
              <a:off x="0" y="5888668"/>
              <a:ext cx="7199997"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a:lnSpc>
                  <a:spcPct val="120000"/>
                </a:lnSpc>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Currently employs 650 skilled workers (August, 2020).</a:t>
              </a:r>
            </a:p>
          </p:txBody>
        </p:sp>
      </p:grpSp>
      <p:sp>
        <p:nvSpPr>
          <p:cNvPr id="2" name="Title 1">
            <a:extLst>
              <a:ext uri="{FF2B5EF4-FFF2-40B4-BE49-F238E27FC236}">
                <a16:creationId xmlns:a16="http://schemas.microsoft.com/office/drawing/2014/main" id="{5C83E704-DFC7-4A03-94AF-B037E8832D47}"/>
              </a:ext>
            </a:extLst>
          </p:cNvPr>
          <p:cNvSpPr>
            <a:spLocks noGrp="1"/>
          </p:cNvSpPr>
          <p:nvPr>
            <p:ph type="title"/>
          </p:nvPr>
        </p:nvSpPr>
        <p:spPr>
          <a:xfrm>
            <a:off x="1175049" y="5188"/>
            <a:ext cx="9841902" cy="1080000"/>
          </a:xfrm>
          <a:noFill/>
        </p:spPr>
        <p:txBody>
          <a:bodyPr>
            <a:normAutofit/>
          </a:bodyPr>
          <a:lstStyle/>
          <a:p>
            <a:pPr algn="ctr"/>
            <a:r>
              <a:rPr lang="en-GB" sz="4000" dirty="0">
                <a:solidFill>
                  <a:schemeClr val="bg1"/>
                </a:solidFill>
                <a:latin typeface="Tahoma" panose="020B0604030504040204" pitchFamily="34" charset="0"/>
                <a:ea typeface="Tahoma" panose="020B0604030504040204" pitchFamily="34" charset="0"/>
                <a:cs typeface="Tahoma" panose="020B0604030504040204" pitchFamily="34" charset="0"/>
              </a:rPr>
              <a:t>Organisation Background</a:t>
            </a:r>
            <a:endParaRPr lang="en-US"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0" name="Right Triangle 69">
            <a:extLst>
              <a:ext uri="{FF2B5EF4-FFF2-40B4-BE49-F238E27FC236}">
                <a16:creationId xmlns:a16="http://schemas.microsoft.com/office/drawing/2014/main" id="{3806AA49-9D36-40BB-9CED-D0A0ACF88E5B}"/>
              </a:ext>
            </a:extLst>
          </p:cNvPr>
          <p:cNvSpPr/>
          <p:nvPr/>
        </p:nvSpPr>
        <p:spPr>
          <a:xfrm flipV="1">
            <a:off x="11113425" y="0"/>
            <a:ext cx="1078575" cy="1079998"/>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8" name="Group 77">
            <a:extLst>
              <a:ext uri="{FF2B5EF4-FFF2-40B4-BE49-F238E27FC236}">
                <a16:creationId xmlns:a16="http://schemas.microsoft.com/office/drawing/2014/main" id="{7EDB21F6-7C0A-47F4-A8A2-A9606C9E7C8E}"/>
              </a:ext>
            </a:extLst>
          </p:cNvPr>
          <p:cNvGrpSpPr/>
          <p:nvPr/>
        </p:nvGrpSpPr>
        <p:grpSpPr>
          <a:xfrm>
            <a:off x="0" y="5832000"/>
            <a:ext cx="1260000" cy="1026000"/>
            <a:chOff x="1085354" y="5697912"/>
            <a:chExt cx="1260000" cy="1026000"/>
          </a:xfrm>
        </p:grpSpPr>
        <p:sp>
          <p:nvSpPr>
            <p:cNvPr id="75" name="Right Triangle 74">
              <a:extLst>
                <a:ext uri="{FF2B5EF4-FFF2-40B4-BE49-F238E27FC236}">
                  <a16:creationId xmlns:a16="http://schemas.microsoft.com/office/drawing/2014/main" id="{8A3D59F6-4881-4B57-92A2-31E17984710A}"/>
                </a:ext>
              </a:extLst>
            </p:cNvPr>
            <p:cNvSpPr/>
            <p:nvPr/>
          </p:nvSpPr>
          <p:spPr>
            <a:xfrm>
              <a:off x="1085354" y="5697912"/>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ight Triangle 76">
              <a:extLst>
                <a:ext uri="{FF2B5EF4-FFF2-40B4-BE49-F238E27FC236}">
                  <a16:creationId xmlns:a16="http://schemas.microsoft.com/office/drawing/2014/main" id="{79A07DD5-8435-41E8-9EAD-73714F45BAAB}"/>
                </a:ext>
              </a:extLst>
            </p:cNvPr>
            <p:cNvSpPr/>
            <p:nvPr/>
          </p:nvSpPr>
          <p:spPr>
            <a:xfrm>
              <a:off x="1085354" y="587963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9" name="Rectangle 78">
            <a:extLst>
              <a:ext uri="{FF2B5EF4-FFF2-40B4-BE49-F238E27FC236}">
                <a16:creationId xmlns:a16="http://schemas.microsoft.com/office/drawing/2014/main" id="{314E7EC4-5400-42CD-B637-CE59558E1848}"/>
              </a:ext>
            </a:extLst>
          </p:cNvPr>
          <p:cNvSpPr/>
          <p:nvPr/>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Subtitle 2">
            <a:extLst>
              <a:ext uri="{FF2B5EF4-FFF2-40B4-BE49-F238E27FC236}">
                <a16:creationId xmlns:a16="http://schemas.microsoft.com/office/drawing/2014/main" id="{3F3B8A11-BD2B-461B-B49D-1B2A7880F726}"/>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2</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5" name="Group 34">
            <a:extLst>
              <a:ext uri="{FF2B5EF4-FFF2-40B4-BE49-F238E27FC236}">
                <a16:creationId xmlns:a16="http://schemas.microsoft.com/office/drawing/2014/main" id="{A6AA9C06-1ABE-4511-9451-2DE9521639E9}"/>
              </a:ext>
            </a:extLst>
          </p:cNvPr>
          <p:cNvGrpSpPr/>
          <p:nvPr/>
        </p:nvGrpSpPr>
        <p:grpSpPr>
          <a:xfrm>
            <a:off x="0" y="0"/>
            <a:ext cx="12751007" cy="6886993"/>
            <a:chOff x="0" y="0"/>
            <a:chExt cx="12751007" cy="6886993"/>
          </a:xfrm>
        </p:grpSpPr>
        <p:grpSp>
          <p:nvGrpSpPr>
            <p:cNvPr id="36" name="Group 35">
              <a:extLst>
                <a:ext uri="{FF2B5EF4-FFF2-40B4-BE49-F238E27FC236}">
                  <a16:creationId xmlns:a16="http://schemas.microsoft.com/office/drawing/2014/main" id="{4A27E509-12E4-4CA3-AD2F-22E4A511CE5B}"/>
                </a:ext>
              </a:extLst>
            </p:cNvPr>
            <p:cNvGrpSpPr/>
            <p:nvPr/>
          </p:nvGrpSpPr>
          <p:grpSpPr>
            <a:xfrm>
              <a:off x="0" y="0"/>
              <a:ext cx="12751007" cy="6886993"/>
              <a:chOff x="0" y="0"/>
              <a:chExt cx="12751007" cy="6886993"/>
            </a:xfrm>
          </p:grpSpPr>
          <p:sp>
            <p:nvSpPr>
              <p:cNvPr id="39" name="Rectangle 38">
                <a:extLst>
                  <a:ext uri="{FF2B5EF4-FFF2-40B4-BE49-F238E27FC236}">
                    <a16:creationId xmlns:a16="http://schemas.microsoft.com/office/drawing/2014/main" id="{D73A946F-8890-47A9-AE56-CC486BB26F2B}"/>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ight Triangle 40">
                <a:extLst>
                  <a:ext uri="{FF2B5EF4-FFF2-40B4-BE49-F238E27FC236}">
                    <a16:creationId xmlns:a16="http://schemas.microsoft.com/office/drawing/2014/main" id="{5BCA7B6A-EEB5-4B80-A785-C172F0F1C75B}"/>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ight Triangle 41">
                <a:extLst>
                  <a:ext uri="{FF2B5EF4-FFF2-40B4-BE49-F238E27FC236}">
                    <a16:creationId xmlns:a16="http://schemas.microsoft.com/office/drawing/2014/main" id="{7E0EF069-8015-4BD6-80A7-2D4D20198035}"/>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42">
                <a:extLst>
                  <a:ext uri="{FF2B5EF4-FFF2-40B4-BE49-F238E27FC236}">
                    <a16:creationId xmlns:a16="http://schemas.microsoft.com/office/drawing/2014/main" id="{B1536449-1DC9-4E03-A768-25A366C6A0CB}"/>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a:extLst>
                  <a:ext uri="{FF2B5EF4-FFF2-40B4-BE49-F238E27FC236}">
                    <a16:creationId xmlns:a16="http://schemas.microsoft.com/office/drawing/2014/main" id="{FB8DB21F-2BAF-491B-A283-F831DF8B6911}"/>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ight Triangle 44">
                <a:extLst>
                  <a:ext uri="{FF2B5EF4-FFF2-40B4-BE49-F238E27FC236}">
                    <a16:creationId xmlns:a16="http://schemas.microsoft.com/office/drawing/2014/main" id="{72053A54-448D-48A7-9E3C-885425A1FD79}"/>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ight Triangle 46">
                <a:extLst>
                  <a:ext uri="{FF2B5EF4-FFF2-40B4-BE49-F238E27FC236}">
                    <a16:creationId xmlns:a16="http://schemas.microsoft.com/office/drawing/2014/main" id="{0E95C3CF-DF83-46FE-8604-C2C8C864F5F1}"/>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ight Triangle 47">
                <a:extLst>
                  <a:ext uri="{FF2B5EF4-FFF2-40B4-BE49-F238E27FC236}">
                    <a16:creationId xmlns:a16="http://schemas.microsoft.com/office/drawing/2014/main" id="{17E15E11-CBBA-4391-B0F7-77B4D060DBD3}"/>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 Box 4">
                <a:extLst>
                  <a:ext uri="{FF2B5EF4-FFF2-40B4-BE49-F238E27FC236}">
                    <a16:creationId xmlns:a16="http://schemas.microsoft.com/office/drawing/2014/main" id="{A8124F6B-3F99-4B31-B213-3925C8E01542}"/>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37" name="Subtitle 2">
              <a:extLst>
                <a:ext uri="{FF2B5EF4-FFF2-40B4-BE49-F238E27FC236}">
                  <a16:creationId xmlns:a16="http://schemas.microsoft.com/office/drawing/2014/main" id="{4B08EB65-DC54-489A-BF66-3FFFCCF48B77}"/>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2</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8" name="Picture 37">
              <a:extLst>
                <a:ext uri="{FF2B5EF4-FFF2-40B4-BE49-F238E27FC236}">
                  <a16:creationId xmlns:a16="http://schemas.microsoft.com/office/drawing/2014/main" id="{8179828E-5369-4C67-AC33-B2721B2101F0}"/>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1769827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 name="Picture 136">
            <a:extLst>
              <a:ext uri="{FF2B5EF4-FFF2-40B4-BE49-F238E27FC236}">
                <a16:creationId xmlns:a16="http://schemas.microsoft.com/office/drawing/2014/main" id="{CA713C07-3AFD-4650-B43D-18CCBD8FC7EA}"/>
              </a:ext>
            </a:extLst>
          </p:cNvPr>
          <p:cNvPicPr>
            <a:picLocks noChangeAspect="1"/>
          </p:cNvPicPr>
          <p:nvPr/>
        </p:nvPicPr>
        <p:blipFill>
          <a:blip r:embed="rId2">
            <a:alphaModFix amt="15000"/>
            <a:extLst>
              <a:ext uri="{28A0092B-C50C-407E-A947-70E740481C1C}">
                <a14:useLocalDpi xmlns:a14="http://schemas.microsoft.com/office/drawing/2010/main" val="0"/>
              </a:ext>
            </a:extLst>
          </a:blip>
          <a:stretch>
            <a:fillRect/>
          </a:stretch>
        </p:blipFill>
        <p:spPr>
          <a:xfrm>
            <a:off x="-1" y="-838508"/>
            <a:ext cx="12192000" cy="8128000"/>
          </a:xfrm>
          <a:prstGeom prst="rect">
            <a:avLst/>
          </a:prstGeom>
        </p:spPr>
      </p:pic>
      <p:grpSp>
        <p:nvGrpSpPr>
          <p:cNvPr id="30" name="Group 29">
            <a:extLst>
              <a:ext uri="{FF2B5EF4-FFF2-40B4-BE49-F238E27FC236}">
                <a16:creationId xmlns:a16="http://schemas.microsoft.com/office/drawing/2014/main" id="{0A4F2C8B-54E2-4D21-A1A0-8093EFCE46CB}"/>
              </a:ext>
            </a:extLst>
          </p:cNvPr>
          <p:cNvGrpSpPr/>
          <p:nvPr/>
        </p:nvGrpSpPr>
        <p:grpSpPr>
          <a:xfrm>
            <a:off x="0" y="-2"/>
            <a:ext cx="12192000" cy="1085190"/>
            <a:chOff x="0" y="-2"/>
            <a:chExt cx="12192000" cy="1085190"/>
          </a:xfrm>
        </p:grpSpPr>
        <p:sp>
          <p:nvSpPr>
            <p:cNvPr id="31" name="Rectangle 30">
              <a:extLst>
                <a:ext uri="{FF2B5EF4-FFF2-40B4-BE49-F238E27FC236}">
                  <a16:creationId xmlns:a16="http://schemas.microsoft.com/office/drawing/2014/main" id="{4DAC611E-2743-48B1-9E5C-D5EDD178110F}"/>
                </a:ext>
              </a:extLst>
            </p:cNvPr>
            <p:cNvSpPr/>
            <p:nvPr/>
          </p:nvSpPr>
          <p:spPr>
            <a:xfrm>
              <a:off x="0" y="-2"/>
              <a:ext cx="11113424" cy="108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32" name="Title 1">
              <a:extLst>
                <a:ext uri="{FF2B5EF4-FFF2-40B4-BE49-F238E27FC236}">
                  <a16:creationId xmlns:a16="http://schemas.microsoft.com/office/drawing/2014/main" id="{175CBFF7-1265-457E-94EE-91E466FEB88A}"/>
                </a:ext>
              </a:extLst>
            </p:cNvPr>
            <p:cNvSpPr txBox="1">
              <a:spLocks/>
            </p:cNvSpPr>
            <p:nvPr/>
          </p:nvSpPr>
          <p:spPr>
            <a:xfrm>
              <a:off x="1175049" y="5188"/>
              <a:ext cx="9841902" cy="1080000"/>
            </a:xfrm>
            <a:prstGeom prst="rect">
              <a:avLst/>
            </a:prstGeom>
            <a:noFill/>
          </p:spPr>
          <p:txBody>
            <a:bodyPr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algn="ctr"/>
              <a:r>
                <a:rPr lang="en-GB" sz="4000" dirty="0">
                  <a:solidFill>
                    <a:schemeClr val="bg1"/>
                  </a:solidFill>
                  <a:latin typeface="Tahoma" panose="020B0604030504040204" pitchFamily="34" charset="0"/>
                  <a:ea typeface="Tahoma" panose="020B0604030504040204" pitchFamily="34" charset="0"/>
                  <a:cs typeface="Tahoma" panose="020B0604030504040204" pitchFamily="34" charset="0"/>
                </a:rPr>
                <a:t>Clean Energy Product History</a:t>
              </a:r>
              <a:endParaRPr lang="en-US"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Right Triangle 32">
              <a:extLst>
                <a:ext uri="{FF2B5EF4-FFF2-40B4-BE49-F238E27FC236}">
                  <a16:creationId xmlns:a16="http://schemas.microsoft.com/office/drawing/2014/main" id="{10C2A479-D63F-49D5-9B06-65085F0A5CB5}"/>
                </a:ext>
              </a:extLst>
            </p:cNvPr>
            <p:cNvSpPr/>
            <p:nvPr/>
          </p:nvSpPr>
          <p:spPr>
            <a:xfrm flipV="1">
              <a:off x="11113425" y="0"/>
              <a:ext cx="1078575" cy="1079998"/>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grpSp>
      <p:grpSp>
        <p:nvGrpSpPr>
          <p:cNvPr id="16" name="Group 15">
            <a:extLst>
              <a:ext uri="{FF2B5EF4-FFF2-40B4-BE49-F238E27FC236}">
                <a16:creationId xmlns:a16="http://schemas.microsoft.com/office/drawing/2014/main" id="{177AC467-05BF-4C07-9215-17BB6BA92869}"/>
              </a:ext>
            </a:extLst>
          </p:cNvPr>
          <p:cNvGrpSpPr/>
          <p:nvPr/>
        </p:nvGrpSpPr>
        <p:grpSpPr>
          <a:xfrm>
            <a:off x="0" y="0"/>
            <a:ext cx="12192000" cy="6862338"/>
            <a:chOff x="0" y="0"/>
            <a:chExt cx="12192000" cy="6862338"/>
          </a:xfrm>
        </p:grpSpPr>
        <p:sp>
          <p:nvSpPr>
            <p:cNvPr id="17" name="Rectangle 16">
              <a:extLst>
                <a:ext uri="{FF2B5EF4-FFF2-40B4-BE49-F238E27FC236}">
                  <a16:creationId xmlns:a16="http://schemas.microsoft.com/office/drawing/2014/main" id="{0F741916-6EB8-4BB9-B00E-C1E9955A5864}"/>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18" name="Right Triangle 17">
              <a:extLst>
                <a:ext uri="{FF2B5EF4-FFF2-40B4-BE49-F238E27FC236}">
                  <a16:creationId xmlns:a16="http://schemas.microsoft.com/office/drawing/2014/main" id="{F385B4B1-5DF4-4784-B3BD-F6774D446C24}"/>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1" name="Right Triangle 20">
              <a:extLst>
                <a:ext uri="{FF2B5EF4-FFF2-40B4-BE49-F238E27FC236}">
                  <a16:creationId xmlns:a16="http://schemas.microsoft.com/office/drawing/2014/main" id="{6E5A18D4-B129-4C15-A2ED-C1D91BD2F3A1}"/>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2" name="Rectangle 21">
              <a:extLst>
                <a:ext uri="{FF2B5EF4-FFF2-40B4-BE49-F238E27FC236}">
                  <a16:creationId xmlns:a16="http://schemas.microsoft.com/office/drawing/2014/main" id="{2060434D-4422-4668-92C6-31349E441F59}"/>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4" name="Rectangle 23">
              <a:extLst>
                <a:ext uri="{FF2B5EF4-FFF2-40B4-BE49-F238E27FC236}">
                  <a16:creationId xmlns:a16="http://schemas.microsoft.com/office/drawing/2014/main" id="{BE5D8773-8F39-442E-8C06-0B32D0ED612F}"/>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5" name="Text Box 4">
              <a:extLst>
                <a:ext uri="{FF2B5EF4-FFF2-40B4-BE49-F238E27FC236}">
                  <a16:creationId xmlns:a16="http://schemas.microsoft.com/office/drawing/2014/main" id="{ADA97466-D289-4AA0-81DD-EEE7746D7ABC}"/>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26" name="Picture 25" descr="Logo, icon&#10;&#10;Description automatically generated">
              <a:extLst>
                <a:ext uri="{FF2B5EF4-FFF2-40B4-BE49-F238E27FC236}">
                  <a16:creationId xmlns:a16="http://schemas.microsoft.com/office/drawing/2014/main" id="{569BADAA-709F-4A83-9982-98BF6D092A3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27" name="Right Triangle 26">
              <a:extLst>
                <a:ext uri="{FF2B5EF4-FFF2-40B4-BE49-F238E27FC236}">
                  <a16:creationId xmlns:a16="http://schemas.microsoft.com/office/drawing/2014/main" id="{DFEC3DAA-88EB-49D3-B0BF-696B42307716}"/>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8" name="Right Triangle 27">
              <a:extLst>
                <a:ext uri="{FF2B5EF4-FFF2-40B4-BE49-F238E27FC236}">
                  <a16:creationId xmlns:a16="http://schemas.microsoft.com/office/drawing/2014/main" id="{FFF34004-45A4-48A9-835F-B20AB6270D1D}"/>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sp>
          <p:nvSpPr>
            <p:cNvPr id="29" name="Right Triangle 28">
              <a:extLst>
                <a:ext uri="{FF2B5EF4-FFF2-40B4-BE49-F238E27FC236}">
                  <a16:creationId xmlns:a16="http://schemas.microsoft.com/office/drawing/2014/main" id="{D931EFDB-2AE3-49B1-A80C-FAFFBA8DEC2E}"/>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Tahoma" panose="020B0604030504040204" pitchFamily="34" charset="0"/>
                <a:ea typeface="Tahoma" panose="020B0604030504040204" pitchFamily="34" charset="0"/>
                <a:cs typeface="Tahoma" panose="020B0604030504040204" pitchFamily="34" charset="0"/>
              </a:endParaRPr>
            </a:p>
          </p:txBody>
        </p:sp>
      </p:grpSp>
      <p:sp>
        <p:nvSpPr>
          <p:cNvPr id="34" name="Subtitle 2">
            <a:extLst>
              <a:ext uri="{FF2B5EF4-FFF2-40B4-BE49-F238E27FC236}">
                <a16:creationId xmlns:a16="http://schemas.microsoft.com/office/drawing/2014/main" id="{2B0D8135-706A-4463-B4D0-7FA52BF58C69}"/>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3</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9" name="Group 38">
            <a:extLst>
              <a:ext uri="{FF2B5EF4-FFF2-40B4-BE49-F238E27FC236}">
                <a16:creationId xmlns:a16="http://schemas.microsoft.com/office/drawing/2014/main" id="{1183766B-5BC0-44A6-BC06-70AB4FCBF7BB}"/>
              </a:ext>
            </a:extLst>
          </p:cNvPr>
          <p:cNvGrpSpPr/>
          <p:nvPr/>
        </p:nvGrpSpPr>
        <p:grpSpPr>
          <a:xfrm>
            <a:off x="0" y="0"/>
            <a:ext cx="12751007" cy="6886993"/>
            <a:chOff x="0" y="0"/>
            <a:chExt cx="12751007" cy="6886993"/>
          </a:xfrm>
        </p:grpSpPr>
        <p:grpSp>
          <p:nvGrpSpPr>
            <p:cNvPr id="40" name="Group 39">
              <a:extLst>
                <a:ext uri="{FF2B5EF4-FFF2-40B4-BE49-F238E27FC236}">
                  <a16:creationId xmlns:a16="http://schemas.microsoft.com/office/drawing/2014/main" id="{A3CF5EFC-1434-4082-A55C-5EE5A49CD214}"/>
                </a:ext>
              </a:extLst>
            </p:cNvPr>
            <p:cNvGrpSpPr/>
            <p:nvPr/>
          </p:nvGrpSpPr>
          <p:grpSpPr>
            <a:xfrm>
              <a:off x="0" y="0"/>
              <a:ext cx="12751007" cy="6886993"/>
              <a:chOff x="0" y="0"/>
              <a:chExt cx="12751007" cy="6886993"/>
            </a:xfrm>
          </p:grpSpPr>
          <p:sp>
            <p:nvSpPr>
              <p:cNvPr id="50" name="Rectangle 49">
                <a:extLst>
                  <a:ext uri="{FF2B5EF4-FFF2-40B4-BE49-F238E27FC236}">
                    <a16:creationId xmlns:a16="http://schemas.microsoft.com/office/drawing/2014/main" id="{CA8B52CA-AFC6-48B4-A5B5-961CE2F4294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ight Triangle 50">
                <a:extLst>
                  <a:ext uri="{FF2B5EF4-FFF2-40B4-BE49-F238E27FC236}">
                    <a16:creationId xmlns:a16="http://schemas.microsoft.com/office/drawing/2014/main" id="{FE198FE8-0393-4CE1-AC67-AB2A69B99818}"/>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ight Triangle 51">
                <a:extLst>
                  <a:ext uri="{FF2B5EF4-FFF2-40B4-BE49-F238E27FC236}">
                    <a16:creationId xmlns:a16="http://schemas.microsoft.com/office/drawing/2014/main" id="{E5282E1F-0108-4B93-B9B1-65A4B744C2BF}"/>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5F75F549-945E-4823-AD6C-2EFCC24E215B}"/>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tangle 53">
                <a:extLst>
                  <a:ext uri="{FF2B5EF4-FFF2-40B4-BE49-F238E27FC236}">
                    <a16:creationId xmlns:a16="http://schemas.microsoft.com/office/drawing/2014/main" id="{8601530F-8DAD-4B38-AEFC-804AFF2666BF}"/>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ight Triangle 54">
                <a:extLst>
                  <a:ext uri="{FF2B5EF4-FFF2-40B4-BE49-F238E27FC236}">
                    <a16:creationId xmlns:a16="http://schemas.microsoft.com/office/drawing/2014/main" id="{DBB59FA3-F4D5-4D82-A50F-6824FC081D54}"/>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ight Triangle 55">
                <a:extLst>
                  <a:ext uri="{FF2B5EF4-FFF2-40B4-BE49-F238E27FC236}">
                    <a16:creationId xmlns:a16="http://schemas.microsoft.com/office/drawing/2014/main" id="{CD866814-247C-4D99-A94B-F3AD1D86EC33}"/>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ight Triangle 56">
                <a:extLst>
                  <a:ext uri="{FF2B5EF4-FFF2-40B4-BE49-F238E27FC236}">
                    <a16:creationId xmlns:a16="http://schemas.microsoft.com/office/drawing/2014/main" id="{D85672EA-376A-4042-BBB0-D350A0E0C449}"/>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Text Box 4">
                <a:extLst>
                  <a:ext uri="{FF2B5EF4-FFF2-40B4-BE49-F238E27FC236}">
                    <a16:creationId xmlns:a16="http://schemas.microsoft.com/office/drawing/2014/main" id="{A49C08E1-7840-4507-B0D8-F49EEC3FB0C5}"/>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48" name="Subtitle 2">
              <a:extLst>
                <a:ext uri="{FF2B5EF4-FFF2-40B4-BE49-F238E27FC236}">
                  <a16:creationId xmlns:a16="http://schemas.microsoft.com/office/drawing/2014/main" id="{37222E8A-1334-4903-86DF-28E6307CF639}"/>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3</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49" name="Picture 48">
              <a:extLst>
                <a:ext uri="{FF2B5EF4-FFF2-40B4-BE49-F238E27FC236}">
                  <a16:creationId xmlns:a16="http://schemas.microsoft.com/office/drawing/2014/main" id="{B5862A13-AA74-4C47-9BB4-F2036A2FE61E}"/>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
        <p:nvSpPr>
          <p:cNvPr id="67" name="Rectangle 5">
            <a:extLst>
              <a:ext uri="{FF2B5EF4-FFF2-40B4-BE49-F238E27FC236}">
                <a16:creationId xmlns:a16="http://schemas.microsoft.com/office/drawing/2014/main" id="{EC54656D-E540-468D-BEE7-1D59EA961F58}"/>
              </a:ext>
            </a:extLst>
          </p:cNvPr>
          <p:cNvSpPr>
            <a:spLocks noChangeArrowheads="1"/>
          </p:cNvSpPr>
          <p:nvPr/>
        </p:nvSpPr>
        <p:spPr bwMode="auto">
          <a:xfrm>
            <a:off x="5195115" y="3316229"/>
            <a:ext cx="8980374" cy="338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en-GB" altLang="en-US" sz="1600">
              <a:latin typeface="Tahoma" panose="020B0604030504040204" pitchFamily="34" charset="0"/>
              <a:ea typeface="Tahoma" panose="020B0604030504040204" pitchFamily="34" charset="0"/>
              <a:cs typeface="Tahoma" panose="020B0604030504040204" pitchFamily="34" charset="0"/>
            </a:endParaRPr>
          </a:p>
        </p:txBody>
      </p:sp>
      <p:sp>
        <p:nvSpPr>
          <p:cNvPr id="68" name="Rectangle 6">
            <a:extLst>
              <a:ext uri="{FF2B5EF4-FFF2-40B4-BE49-F238E27FC236}">
                <a16:creationId xmlns:a16="http://schemas.microsoft.com/office/drawing/2014/main" id="{B0723B9F-382D-4055-AE2B-9DC5B02840F1}"/>
              </a:ext>
            </a:extLst>
          </p:cNvPr>
          <p:cNvSpPr>
            <a:spLocks noChangeArrowheads="1"/>
          </p:cNvSpPr>
          <p:nvPr/>
        </p:nvSpPr>
        <p:spPr bwMode="auto">
          <a:xfrm>
            <a:off x="5644134" y="3328702"/>
            <a:ext cx="8980374" cy="338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en-GB" altLang="en-US" sz="1600">
              <a:latin typeface="Tahoma" panose="020B0604030504040204" pitchFamily="34" charset="0"/>
              <a:ea typeface="Tahoma" panose="020B0604030504040204" pitchFamily="34" charset="0"/>
              <a:cs typeface="Tahoma" panose="020B0604030504040204" pitchFamily="34" charset="0"/>
            </a:endParaRPr>
          </a:p>
        </p:txBody>
      </p:sp>
      <p:grpSp>
        <p:nvGrpSpPr>
          <p:cNvPr id="14" name="Group 13">
            <a:extLst>
              <a:ext uri="{FF2B5EF4-FFF2-40B4-BE49-F238E27FC236}">
                <a16:creationId xmlns:a16="http://schemas.microsoft.com/office/drawing/2014/main" id="{A6247C8F-5177-4F82-AE69-A9BCBEF45E62}"/>
              </a:ext>
            </a:extLst>
          </p:cNvPr>
          <p:cNvGrpSpPr/>
          <p:nvPr/>
        </p:nvGrpSpPr>
        <p:grpSpPr>
          <a:xfrm>
            <a:off x="-59820" y="1152239"/>
            <a:ext cx="11929929" cy="5149166"/>
            <a:chOff x="-94004" y="733496"/>
            <a:chExt cx="11929929" cy="5149166"/>
          </a:xfrm>
        </p:grpSpPr>
        <p:sp>
          <p:nvSpPr>
            <p:cNvPr id="2" name="Arrow: Right 1">
              <a:extLst>
                <a:ext uri="{FF2B5EF4-FFF2-40B4-BE49-F238E27FC236}">
                  <a16:creationId xmlns:a16="http://schemas.microsoft.com/office/drawing/2014/main" id="{47868E73-142A-4BFF-8074-72F9030E2567}"/>
                </a:ext>
              </a:extLst>
            </p:cNvPr>
            <p:cNvSpPr/>
            <p:nvPr/>
          </p:nvSpPr>
          <p:spPr>
            <a:xfrm>
              <a:off x="-94004" y="3186684"/>
              <a:ext cx="11929929" cy="484632"/>
            </a:xfrm>
            <a:prstGeom prst="rightArrow">
              <a:avLst>
                <a:gd name="adj1" fmla="val 67634"/>
                <a:gd name="adj2" fmla="val 50000"/>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9" name="Picture 2" descr="K:\Commercial\Product Images\Classic look\Electrocity\TFL Electrocity\IMG_0921.JPG">
              <a:extLst>
                <a:ext uri="{FF2B5EF4-FFF2-40B4-BE49-F238E27FC236}">
                  <a16:creationId xmlns:a16="http://schemas.microsoft.com/office/drawing/2014/main" id="{9C79EB6D-2A57-4EFD-A7E5-B923D0490B2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4895" y="1321992"/>
              <a:ext cx="2157952" cy="16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5CCA8E64-B5F5-40ED-90A8-886094208A03}"/>
                </a:ext>
              </a:extLst>
            </p:cNvPr>
            <p:cNvSpPr txBox="1">
              <a:spLocks noChangeArrowheads="1"/>
            </p:cNvSpPr>
            <p:nvPr/>
          </p:nvSpPr>
          <p:spPr bwMode="auto">
            <a:xfrm>
              <a:off x="712204" y="2940731"/>
              <a:ext cx="114333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1999</a:t>
              </a:r>
            </a:p>
          </p:txBody>
        </p:sp>
        <p:sp>
          <p:nvSpPr>
            <p:cNvPr id="76" name="Oval 75">
              <a:extLst>
                <a:ext uri="{FF2B5EF4-FFF2-40B4-BE49-F238E27FC236}">
                  <a16:creationId xmlns:a16="http://schemas.microsoft.com/office/drawing/2014/main" id="{F4BE8B15-3BF8-427E-A0DF-2C1B13F3C13A}"/>
                </a:ext>
              </a:extLst>
            </p:cNvPr>
            <p:cNvSpPr/>
            <p:nvPr/>
          </p:nvSpPr>
          <p:spPr>
            <a:xfrm>
              <a:off x="1157871"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sp>
          <p:nvSpPr>
            <p:cNvPr id="129" name="TextBox 5">
              <a:extLst>
                <a:ext uri="{FF2B5EF4-FFF2-40B4-BE49-F238E27FC236}">
                  <a16:creationId xmlns:a16="http://schemas.microsoft.com/office/drawing/2014/main" id="{62290390-0EE5-4699-855D-D3A7648E9FC6}"/>
                </a:ext>
              </a:extLst>
            </p:cNvPr>
            <p:cNvSpPr txBox="1">
              <a:spLocks noChangeArrowheads="1"/>
            </p:cNvSpPr>
            <p:nvPr/>
          </p:nvSpPr>
          <p:spPr bwMode="auto">
            <a:xfrm>
              <a:off x="204895" y="1005918"/>
              <a:ext cx="2157952"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First EV</a:t>
              </a:r>
            </a:p>
          </p:txBody>
        </p:sp>
        <p:pic>
          <p:nvPicPr>
            <p:cNvPr id="71" name="Picture 13" descr="First group_ddeck">
              <a:extLst>
                <a:ext uri="{FF2B5EF4-FFF2-40B4-BE49-F238E27FC236}">
                  <a16:creationId xmlns:a16="http://schemas.microsoft.com/office/drawing/2014/main" id="{68BA5C86-A2E5-406E-9C1D-2437337122F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7619" r="21471" b="3853"/>
            <a:stretch>
              <a:fillRect/>
            </a:stretch>
          </p:blipFill>
          <p:spPr bwMode="auto">
            <a:xfrm>
              <a:off x="2481525" y="1321992"/>
              <a:ext cx="2028630" cy="16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8DFAEE3C-470F-4655-BF2E-314F3E8816AE}"/>
                </a:ext>
              </a:extLst>
            </p:cNvPr>
            <p:cNvSpPr txBox="1">
              <a:spLocks noChangeArrowheads="1"/>
            </p:cNvSpPr>
            <p:nvPr/>
          </p:nvSpPr>
          <p:spPr bwMode="auto">
            <a:xfrm>
              <a:off x="2881507" y="2930492"/>
              <a:ext cx="122866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06</a:t>
              </a:r>
            </a:p>
          </p:txBody>
        </p:sp>
        <p:sp>
          <p:nvSpPr>
            <p:cNvPr id="80" name="Oval 79">
              <a:extLst>
                <a:ext uri="{FF2B5EF4-FFF2-40B4-BE49-F238E27FC236}">
                  <a16:creationId xmlns:a16="http://schemas.microsoft.com/office/drawing/2014/main" id="{366A278D-5B6A-4563-8E38-55C325F9BB5B}"/>
                </a:ext>
              </a:extLst>
            </p:cNvPr>
            <p:cNvSpPr/>
            <p:nvPr/>
          </p:nvSpPr>
          <p:spPr>
            <a:xfrm>
              <a:off x="3369840"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sp>
          <p:nvSpPr>
            <p:cNvPr id="131" name="TextBox 37">
              <a:extLst>
                <a:ext uri="{FF2B5EF4-FFF2-40B4-BE49-F238E27FC236}">
                  <a16:creationId xmlns:a16="http://schemas.microsoft.com/office/drawing/2014/main" id="{B7B9993E-F67F-4563-BB80-A3ABEA6D269C}"/>
                </a:ext>
              </a:extLst>
            </p:cNvPr>
            <p:cNvSpPr txBox="1">
              <a:spLocks noChangeArrowheads="1"/>
            </p:cNvSpPr>
            <p:nvPr/>
          </p:nvSpPr>
          <p:spPr bwMode="auto">
            <a:xfrm>
              <a:off x="2481525" y="966826"/>
              <a:ext cx="2028630"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Hybrid double-deck</a:t>
              </a:r>
            </a:p>
          </p:txBody>
        </p:sp>
        <p:pic>
          <p:nvPicPr>
            <p:cNvPr id="74" name="Picture 73">
              <a:extLst>
                <a:ext uri="{FF2B5EF4-FFF2-40B4-BE49-F238E27FC236}">
                  <a16:creationId xmlns:a16="http://schemas.microsoft.com/office/drawing/2014/main" id="{1A2384FD-ECFE-4FE8-B846-5CD764AA8B4D}"/>
                </a:ext>
              </a:extLst>
            </p:cNvPr>
            <p:cNvPicPr>
              <a:picLocks noChangeAspect="1"/>
            </p:cNvPicPr>
            <p:nvPr/>
          </p:nvPicPr>
          <p:blipFill>
            <a:blip r:embed="rId9">
              <a:extLst>
                <a:ext uri="{28A0092B-C50C-407E-A947-70E740481C1C}">
                  <a14:useLocalDpi xmlns:a14="http://schemas.microsoft.com/office/drawing/2010/main" val="0"/>
                </a:ext>
              </a:extLst>
            </a:blip>
            <a:srcRect l="10361" r="6454"/>
            <a:stretch>
              <a:fillRect/>
            </a:stretch>
          </p:blipFill>
          <p:spPr bwMode="auto">
            <a:xfrm>
              <a:off x="5802969" y="3917719"/>
              <a:ext cx="2018740" cy="16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452EEB44-FA56-4E62-BEA5-D168249A5C73}"/>
                </a:ext>
              </a:extLst>
            </p:cNvPr>
            <p:cNvSpPr txBox="1">
              <a:spLocks noChangeArrowheads="1"/>
            </p:cNvSpPr>
            <p:nvPr/>
          </p:nvSpPr>
          <p:spPr bwMode="auto">
            <a:xfrm>
              <a:off x="5096005" y="2923556"/>
              <a:ext cx="11474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08</a:t>
              </a:r>
            </a:p>
          </p:txBody>
        </p:sp>
        <p:sp>
          <p:nvSpPr>
            <p:cNvPr id="78" name="Oval 77">
              <a:extLst>
                <a:ext uri="{FF2B5EF4-FFF2-40B4-BE49-F238E27FC236}">
                  <a16:creationId xmlns:a16="http://schemas.microsoft.com/office/drawing/2014/main" id="{4E409D70-E98B-4812-BD6B-CDCFF7B632B0}"/>
                </a:ext>
              </a:extLst>
            </p:cNvPr>
            <p:cNvSpPr/>
            <p:nvPr/>
          </p:nvSpPr>
          <p:spPr>
            <a:xfrm>
              <a:off x="5543752"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sp>
          <p:nvSpPr>
            <p:cNvPr id="133" name="TextBox 39">
              <a:extLst>
                <a:ext uri="{FF2B5EF4-FFF2-40B4-BE49-F238E27FC236}">
                  <a16:creationId xmlns:a16="http://schemas.microsoft.com/office/drawing/2014/main" id="{867C7B45-6B51-45D2-B6C2-6B3C995CBB73}"/>
                </a:ext>
              </a:extLst>
            </p:cNvPr>
            <p:cNvSpPr txBox="1">
              <a:spLocks noChangeArrowheads="1"/>
            </p:cNvSpPr>
            <p:nvPr/>
          </p:nvSpPr>
          <p:spPr bwMode="auto">
            <a:xfrm>
              <a:off x="5765890" y="5525266"/>
              <a:ext cx="20286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New </a:t>
              </a:r>
              <a:r>
                <a:rPr lang="en-GB" altLang="en-US" sz="1600" dirty="0" err="1">
                  <a:latin typeface="Tahoma" panose="020B0604030504040204" pitchFamily="34" charset="0"/>
                  <a:ea typeface="Tahoma" panose="020B0604030504040204" pitchFamily="34" charset="0"/>
                  <a:cs typeface="Tahoma" panose="020B0604030504040204" pitchFamily="34" charset="0"/>
                </a:rPr>
                <a:t>Routemaster</a:t>
              </a:r>
              <a:endParaRPr lang="en-GB" altLang="en-US" sz="1600" dirty="0">
                <a:latin typeface="Tahoma" panose="020B0604030504040204" pitchFamily="34" charset="0"/>
                <a:ea typeface="Tahoma" panose="020B0604030504040204" pitchFamily="34" charset="0"/>
                <a:cs typeface="Tahoma" panose="020B0604030504040204" pitchFamily="34" charset="0"/>
              </a:endParaRPr>
            </a:p>
          </p:txBody>
        </p:sp>
        <p:pic>
          <p:nvPicPr>
            <p:cNvPr id="124" name="Picture 4">
              <a:extLst>
                <a:ext uri="{FF2B5EF4-FFF2-40B4-BE49-F238E27FC236}">
                  <a16:creationId xmlns:a16="http://schemas.microsoft.com/office/drawing/2014/main" id="{A212E78B-2B3B-4D34-8153-2E270D3FDA7B}"/>
                </a:ext>
              </a:extLst>
            </p:cNvPr>
            <p:cNvPicPr>
              <a:picLocks noChangeAspect="1"/>
            </p:cNvPicPr>
            <p:nvPr/>
          </p:nvPicPr>
          <p:blipFill>
            <a:blip r:embed="rId10">
              <a:extLst>
                <a:ext uri="{28A0092B-C50C-407E-A947-70E740481C1C}">
                  <a14:useLocalDpi xmlns:a14="http://schemas.microsoft.com/office/drawing/2010/main" val="0"/>
                </a:ext>
              </a:extLst>
            </a:blip>
            <a:srcRect l="8209" r="4008" b="13353"/>
            <a:stretch>
              <a:fillRect/>
            </a:stretch>
          </p:blipFill>
          <p:spPr bwMode="auto">
            <a:xfrm>
              <a:off x="7923280" y="3931294"/>
              <a:ext cx="2192774" cy="16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8C7359EE-0BE6-4CD9-A4B3-D7FE4631F1AA}"/>
                </a:ext>
              </a:extLst>
            </p:cNvPr>
            <p:cNvSpPr txBox="1">
              <a:spLocks noChangeArrowheads="1"/>
            </p:cNvSpPr>
            <p:nvPr/>
          </p:nvSpPr>
          <p:spPr bwMode="auto">
            <a:xfrm>
              <a:off x="8444881" y="3570677"/>
              <a:ext cx="11495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16</a:t>
              </a:r>
            </a:p>
          </p:txBody>
        </p:sp>
        <p:sp>
          <p:nvSpPr>
            <p:cNvPr id="127" name="Oval 126">
              <a:extLst>
                <a:ext uri="{FF2B5EF4-FFF2-40B4-BE49-F238E27FC236}">
                  <a16:creationId xmlns:a16="http://schemas.microsoft.com/office/drawing/2014/main" id="{9A031DA9-779F-4CBF-83A2-1D15C6BE99AF}"/>
                </a:ext>
              </a:extLst>
            </p:cNvPr>
            <p:cNvSpPr/>
            <p:nvPr/>
          </p:nvSpPr>
          <p:spPr>
            <a:xfrm>
              <a:off x="8893667"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sp>
          <p:nvSpPr>
            <p:cNvPr id="135" name="TextBox 41">
              <a:extLst>
                <a:ext uri="{FF2B5EF4-FFF2-40B4-BE49-F238E27FC236}">
                  <a16:creationId xmlns:a16="http://schemas.microsoft.com/office/drawing/2014/main" id="{4176EF01-F032-4B65-8210-7F4F25E38DAB}"/>
                </a:ext>
              </a:extLst>
            </p:cNvPr>
            <p:cNvSpPr txBox="1">
              <a:spLocks noChangeArrowheads="1"/>
            </p:cNvSpPr>
            <p:nvPr/>
          </p:nvSpPr>
          <p:spPr bwMode="auto">
            <a:xfrm>
              <a:off x="7923280" y="5530913"/>
              <a:ext cx="2192774" cy="33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Overnight-charge EV</a:t>
              </a:r>
            </a:p>
          </p:txBody>
        </p:sp>
        <p:sp>
          <p:nvSpPr>
            <p:cNvPr id="77" name="Oval 76">
              <a:extLst>
                <a:ext uri="{FF2B5EF4-FFF2-40B4-BE49-F238E27FC236}">
                  <a16:creationId xmlns:a16="http://schemas.microsoft.com/office/drawing/2014/main" id="{DA906DF5-F2F5-421D-B8AE-65A5E5DD389E}"/>
                </a:ext>
              </a:extLst>
            </p:cNvPr>
            <p:cNvSpPr/>
            <p:nvPr/>
          </p:nvSpPr>
          <p:spPr>
            <a:xfrm>
              <a:off x="2185532"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pic>
          <p:nvPicPr>
            <p:cNvPr id="70" name="Picture 11" descr="Electrocity Ramp">
              <a:extLst>
                <a:ext uri="{FF2B5EF4-FFF2-40B4-BE49-F238E27FC236}">
                  <a16:creationId xmlns:a16="http://schemas.microsoft.com/office/drawing/2014/main" id="{76DAE343-3A53-4682-9AEF-29E2ADFAD6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15511"/>
            <a:stretch>
              <a:fillRect/>
            </a:stretch>
          </p:blipFill>
          <p:spPr bwMode="auto">
            <a:xfrm>
              <a:off x="1219128" y="3927266"/>
              <a:ext cx="2184809" cy="161937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2" name="TextBox 81">
              <a:extLst>
                <a:ext uri="{FF2B5EF4-FFF2-40B4-BE49-F238E27FC236}">
                  <a16:creationId xmlns:a16="http://schemas.microsoft.com/office/drawing/2014/main" id="{7D4D3044-B945-4B8F-99B8-3A8C55C2166D}"/>
                </a:ext>
              </a:extLst>
            </p:cNvPr>
            <p:cNvSpPr txBox="1">
              <a:spLocks noChangeArrowheads="1"/>
            </p:cNvSpPr>
            <p:nvPr/>
          </p:nvSpPr>
          <p:spPr bwMode="auto">
            <a:xfrm>
              <a:off x="1214830" y="3587281"/>
              <a:ext cx="2193405"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02</a:t>
              </a:r>
            </a:p>
          </p:txBody>
        </p:sp>
        <p:sp>
          <p:nvSpPr>
            <p:cNvPr id="130" name="TextBox 36">
              <a:extLst>
                <a:ext uri="{FF2B5EF4-FFF2-40B4-BE49-F238E27FC236}">
                  <a16:creationId xmlns:a16="http://schemas.microsoft.com/office/drawing/2014/main" id="{9131269A-EC7B-4DCD-9BAB-3386DB8DE670}"/>
                </a:ext>
              </a:extLst>
            </p:cNvPr>
            <p:cNvSpPr txBox="1">
              <a:spLocks noChangeArrowheads="1"/>
            </p:cNvSpPr>
            <p:nvPr/>
          </p:nvSpPr>
          <p:spPr bwMode="auto">
            <a:xfrm>
              <a:off x="1219128" y="5544108"/>
              <a:ext cx="21848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Hybrid single-deck</a:t>
              </a:r>
            </a:p>
          </p:txBody>
        </p:sp>
        <p:sp>
          <p:nvSpPr>
            <p:cNvPr id="121" name="Oval 120">
              <a:extLst>
                <a:ext uri="{FF2B5EF4-FFF2-40B4-BE49-F238E27FC236}">
                  <a16:creationId xmlns:a16="http://schemas.microsoft.com/office/drawing/2014/main" id="{71055532-0F7E-48F2-A6F0-08ABCD1C1112}"/>
                </a:ext>
              </a:extLst>
            </p:cNvPr>
            <p:cNvSpPr/>
            <p:nvPr/>
          </p:nvSpPr>
          <p:spPr>
            <a:xfrm>
              <a:off x="4444294"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pic>
          <p:nvPicPr>
            <p:cNvPr id="72" name="Picture 3">
              <a:extLst>
                <a:ext uri="{FF2B5EF4-FFF2-40B4-BE49-F238E27FC236}">
                  <a16:creationId xmlns:a16="http://schemas.microsoft.com/office/drawing/2014/main" id="{89D535B0-AE5C-48BC-B679-9194CA4C18F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64378" y="3927385"/>
              <a:ext cx="2211833" cy="160066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250CCEE3-8ED8-4729-94F6-4A0C26D10683}"/>
                </a:ext>
              </a:extLst>
            </p:cNvPr>
            <p:cNvSpPr txBox="1">
              <a:spLocks noChangeArrowheads="1"/>
            </p:cNvSpPr>
            <p:nvPr/>
          </p:nvSpPr>
          <p:spPr bwMode="auto">
            <a:xfrm>
              <a:off x="3461948" y="3578045"/>
              <a:ext cx="221669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08</a:t>
              </a:r>
            </a:p>
          </p:txBody>
        </p:sp>
        <p:sp>
          <p:nvSpPr>
            <p:cNvPr id="132" name="TextBox 38">
              <a:extLst>
                <a:ext uri="{FF2B5EF4-FFF2-40B4-BE49-F238E27FC236}">
                  <a16:creationId xmlns:a16="http://schemas.microsoft.com/office/drawing/2014/main" id="{6DB8BB11-62F3-4CA1-A576-3C54EADA3A08}"/>
                </a:ext>
              </a:extLst>
            </p:cNvPr>
            <p:cNvSpPr txBox="1">
              <a:spLocks noChangeArrowheads="1"/>
            </p:cNvSpPr>
            <p:nvPr/>
          </p:nvSpPr>
          <p:spPr bwMode="auto">
            <a:xfrm>
              <a:off x="3466245" y="5534872"/>
              <a:ext cx="22080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Hydrogen single-deck</a:t>
              </a:r>
            </a:p>
          </p:txBody>
        </p:sp>
        <p:sp>
          <p:nvSpPr>
            <p:cNvPr id="79" name="Oval 78">
              <a:extLst>
                <a:ext uri="{FF2B5EF4-FFF2-40B4-BE49-F238E27FC236}">
                  <a16:creationId xmlns:a16="http://schemas.microsoft.com/office/drawing/2014/main" id="{F20F0B2F-7535-45DE-9930-8618336A99F7}"/>
                </a:ext>
              </a:extLst>
            </p:cNvPr>
            <p:cNvSpPr/>
            <p:nvPr/>
          </p:nvSpPr>
          <p:spPr>
            <a:xfrm>
              <a:off x="7785756"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pic>
          <p:nvPicPr>
            <p:cNvPr id="73" name="Picture 7">
              <a:extLst>
                <a:ext uri="{FF2B5EF4-FFF2-40B4-BE49-F238E27FC236}">
                  <a16:creationId xmlns:a16="http://schemas.microsoft.com/office/drawing/2014/main" id="{91E98D86-E934-4548-B47D-8EF80E06BC6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00642" y="1324381"/>
              <a:ext cx="2222228" cy="161522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 name="TextBox 118">
              <a:extLst>
                <a:ext uri="{FF2B5EF4-FFF2-40B4-BE49-F238E27FC236}">
                  <a16:creationId xmlns:a16="http://schemas.microsoft.com/office/drawing/2014/main" id="{F8033D67-29C3-419E-B2C3-56344DC3409C}"/>
                </a:ext>
              </a:extLst>
            </p:cNvPr>
            <p:cNvSpPr txBox="1">
              <a:spLocks noChangeArrowheads="1"/>
            </p:cNvSpPr>
            <p:nvPr/>
          </p:nvSpPr>
          <p:spPr bwMode="auto">
            <a:xfrm>
              <a:off x="6797980" y="2918249"/>
              <a:ext cx="2227552"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14</a:t>
              </a:r>
            </a:p>
          </p:txBody>
        </p:sp>
        <p:sp>
          <p:nvSpPr>
            <p:cNvPr id="134" name="TextBox 40">
              <a:extLst>
                <a:ext uri="{FF2B5EF4-FFF2-40B4-BE49-F238E27FC236}">
                  <a16:creationId xmlns:a16="http://schemas.microsoft.com/office/drawing/2014/main" id="{1D1696C7-E228-45E5-A8B8-0177FCDA1639}"/>
                </a:ext>
              </a:extLst>
            </p:cNvPr>
            <p:cNvSpPr txBox="1">
              <a:spLocks noChangeArrowheads="1"/>
            </p:cNvSpPr>
            <p:nvPr/>
          </p:nvSpPr>
          <p:spPr bwMode="auto">
            <a:xfrm>
              <a:off x="6800642" y="976725"/>
              <a:ext cx="22222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IPT-charge EV</a:t>
              </a:r>
            </a:p>
          </p:txBody>
        </p:sp>
        <p:sp>
          <p:nvSpPr>
            <p:cNvPr id="123" name="Oval 122">
              <a:extLst>
                <a:ext uri="{FF2B5EF4-FFF2-40B4-BE49-F238E27FC236}">
                  <a16:creationId xmlns:a16="http://schemas.microsoft.com/office/drawing/2014/main" id="{EFCE48E5-BFAB-4127-BDEE-A9672F10E2B7}"/>
                </a:ext>
              </a:extLst>
            </p:cNvPr>
            <p:cNvSpPr/>
            <p:nvPr/>
          </p:nvSpPr>
          <p:spPr>
            <a:xfrm>
              <a:off x="10277206"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pic>
          <p:nvPicPr>
            <p:cNvPr id="126" name="Picture 5" descr="C:\Users\jmorriso\AppData\Local\Microsoft\Windows\INetCache\Content.Outlook\X8BDIDQE\DSCF9353.jpg">
              <a:extLst>
                <a:ext uri="{FF2B5EF4-FFF2-40B4-BE49-F238E27FC236}">
                  <a16:creationId xmlns:a16="http://schemas.microsoft.com/office/drawing/2014/main" id="{B9015D91-B379-4CA4-9ACC-9F81B235B8C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b="5319"/>
            <a:stretch/>
          </p:blipFill>
          <p:spPr bwMode="auto">
            <a:xfrm>
              <a:off x="9273384" y="1329940"/>
              <a:ext cx="2259644" cy="160410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8" name="TextBox 127">
              <a:extLst>
                <a:ext uri="{FF2B5EF4-FFF2-40B4-BE49-F238E27FC236}">
                  <a16:creationId xmlns:a16="http://schemas.microsoft.com/office/drawing/2014/main" id="{C71EF666-B7D6-4CB8-A187-12006DE29AEF}"/>
                </a:ext>
              </a:extLst>
            </p:cNvPr>
            <p:cNvSpPr txBox="1">
              <a:spLocks noChangeArrowheads="1"/>
            </p:cNvSpPr>
            <p:nvPr/>
          </p:nvSpPr>
          <p:spPr bwMode="auto">
            <a:xfrm>
              <a:off x="9273385" y="2942753"/>
              <a:ext cx="225964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19</a:t>
              </a:r>
            </a:p>
          </p:txBody>
        </p:sp>
        <p:sp>
          <p:nvSpPr>
            <p:cNvPr id="136" name="TextBox 42">
              <a:extLst>
                <a:ext uri="{FF2B5EF4-FFF2-40B4-BE49-F238E27FC236}">
                  <a16:creationId xmlns:a16="http://schemas.microsoft.com/office/drawing/2014/main" id="{B0C0C2B6-FBA8-4AEA-92DB-61AD0816A035}"/>
                </a:ext>
              </a:extLst>
            </p:cNvPr>
            <p:cNvSpPr txBox="1">
              <a:spLocks noChangeArrowheads="1"/>
            </p:cNvSpPr>
            <p:nvPr/>
          </p:nvSpPr>
          <p:spPr bwMode="auto">
            <a:xfrm>
              <a:off x="9273384" y="1000828"/>
              <a:ext cx="22596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FCEV double-deck</a:t>
              </a:r>
            </a:p>
          </p:txBody>
        </p:sp>
        <p:pic>
          <p:nvPicPr>
            <p:cNvPr id="88" name="Picture 1">
              <a:extLst>
                <a:ext uri="{FF2B5EF4-FFF2-40B4-BE49-F238E27FC236}">
                  <a16:creationId xmlns:a16="http://schemas.microsoft.com/office/drawing/2014/main" id="{8ADF4233-EF92-45DB-BEBF-AF8C0AEAC994}"/>
                </a:ext>
              </a:extLst>
            </p:cNvPr>
            <p:cNvPicPr>
              <a:picLocks noChangeAspect="1"/>
            </p:cNvPicPr>
            <p:nvPr/>
          </p:nvPicPr>
          <p:blipFill rotWithShape="1">
            <a:blip r:embed="rId15">
              <a:extLst>
                <a:ext uri="{28A0092B-C50C-407E-A947-70E740481C1C}">
                  <a14:useLocalDpi xmlns:a14="http://schemas.microsoft.com/office/drawing/2010/main" val="0"/>
                </a:ext>
              </a:extLst>
            </a:blip>
            <a:srcRect l="9690" r="11410"/>
            <a:stretch/>
          </p:blipFill>
          <p:spPr bwMode="auto">
            <a:xfrm>
              <a:off x="4720058" y="1323461"/>
              <a:ext cx="1912305" cy="161614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EB227B70-069A-438D-877E-446FC8C61932}"/>
                </a:ext>
              </a:extLst>
            </p:cNvPr>
            <p:cNvSpPr txBox="1">
              <a:spLocks noChangeArrowheads="1"/>
            </p:cNvSpPr>
            <p:nvPr/>
          </p:nvSpPr>
          <p:spPr bwMode="auto">
            <a:xfrm>
              <a:off x="6238592" y="3586968"/>
              <a:ext cx="11474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b="1" dirty="0">
                  <a:latin typeface="Tahoma" panose="020B0604030504040204" pitchFamily="34" charset="0"/>
                  <a:ea typeface="Tahoma" panose="020B0604030504040204" pitchFamily="34" charset="0"/>
                  <a:cs typeface="Tahoma" panose="020B0604030504040204" pitchFamily="34" charset="0"/>
                </a:rPr>
                <a:t>2012</a:t>
              </a:r>
            </a:p>
          </p:txBody>
        </p:sp>
        <p:sp>
          <p:nvSpPr>
            <p:cNvPr id="90" name="Oval 89">
              <a:extLst>
                <a:ext uri="{FF2B5EF4-FFF2-40B4-BE49-F238E27FC236}">
                  <a16:creationId xmlns:a16="http://schemas.microsoft.com/office/drawing/2014/main" id="{B648A987-2633-4C64-8179-DC1901704E5D}"/>
                </a:ext>
              </a:extLst>
            </p:cNvPr>
            <p:cNvSpPr/>
            <p:nvPr/>
          </p:nvSpPr>
          <p:spPr>
            <a:xfrm>
              <a:off x="6686339" y="3303000"/>
              <a:ext cx="252000" cy="252000"/>
            </a:xfrm>
            <a:prstGeom prst="ellipse">
              <a:avLst/>
            </a:prstGeom>
            <a:solidFill>
              <a:schemeClr val="bg1"/>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1600">
                <a:latin typeface="Tahoma" panose="020B0604030504040204" pitchFamily="34" charset="0"/>
                <a:ea typeface="Tahoma" panose="020B0604030504040204" pitchFamily="34" charset="0"/>
                <a:cs typeface="Tahoma" panose="020B0604030504040204" pitchFamily="34" charset="0"/>
              </a:endParaRPr>
            </a:p>
          </p:txBody>
        </p:sp>
        <p:sp>
          <p:nvSpPr>
            <p:cNvPr id="91" name="TextBox 38">
              <a:extLst>
                <a:ext uri="{FF2B5EF4-FFF2-40B4-BE49-F238E27FC236}">
                  <a16:creationId xmlns:a16="http://schemas.microsoft.com/office/drawing/2014/main" id="{85DD00E1-C82D-4CED-9291-AA9E7FFCC76B}"/>
                </a:ext>
              </a:extLst>
            </p:cNvPr>
            <p:cNvSpPr txBox="1">
              <a:spLocks noChangeArrowheads="1"/>
            </p:cNvSpPr>
            <p:nvPr/>
          </p:nvSpPr>
          <p:spPr bwMode="auto">
            <a:xfrm>
              <a:off x="4591212" y="733496"/>
              <a:ext cx="220809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r>
                <a:rPr lang="en-GB" altLang="en-US" sz="1600" dirty="0">
                  <a:latin typeface="Tahoma" panose="020B0604030504040204" pitchFamily="34" charset="0"/>
                  <a:ea typeface="Tahoma" panose="020B0604030504040204" pitchFamily="34" charset="0"/>
                  <a:cs typeface="Tahoma" panose="020B0604030504040204" pitchFamily="34" charset="0"/>
                </a:rPr>
                <a:t>Las Vegas Streetcar</a:t>
              </a:r>
              <a:br>
                <a:rPr lang="en-GB" altLang="en-US" sz="1600" dirty="0">
                  <a:latin typeface="Tahoma" panose="020B0604030504040204" pitchFamily="34" charset="0"/>
                  <a:ea typeface="Tahoma" panose="020B0604030504040204" pitchFamily="34" charset="0"/>
                  <a:cs typeface="Tahoma" panose="020B0604030504040204" pitchFamily="34" charset="0"/>
                </a:rPr>
              </a:br>
              <a:r>
                <a:rPr lang="en-GB" altLang="en-US" sz="1600" dirty="0">
                  <a:latin typeface="Tahoma" panose="020B0604030504040204" pitchFamily="34" charset="0"/>
                  <a:ea typeface="Tahoma" panose="020B0604030504040204" pitchFamily="34" charset="0"/>
                  <a:cs typeface="Tahoma" panose="020B0604030504040204" pitchFamily="34" charset="0"/>
                </a:rPr>
                <a:t>Parallel-hybrid-electric</a:t>
              </a:r>
            </a:p>
          </p:txBody>
        </p:sp>
      </p:grpSp>
    </p:spTree>
    <p:extLst>
      <p:ext uri="{BB962C8B-B14F-4D97-AF65-F5344CB8AC3E}">
        <p14:creationId xmlns:p14="http://schemas.microsoft.com/office/powerpoint/2010/main" val="634685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3" name="Rectangle 2">
            <a:extLst>
              <a:ext uri="{FF2B5EF4-FFF2-40B4-BE49-F238E27FC236}">
                <a16:creationId xmlns:a16="http://schemas.microsoft.com/office/drawing/2014/main" id="{CB4B434D-A0A6-47B4-BEBA-C066E076DB4E}"/>
              </a:ext>
            </a:extLst>
          </p:cNvPr>
          <p:cNvSpPr/>
          <p:nvPr/>
        </p:nvSpPr>
        <p:spPr>
          <a:xfrm>
            <a:off x="7028597" y="110139"/>
            <a:ext cx="5163403" cy="67478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a:extLst>
              <a:ext uri="{FF2B5EF4-FFF2-40B4-BE49-F238E27FC236}">
                <a16:creationId xmlns:a16="http://schemas.microsoft.com/office/drawing/2014/main" id="{A4D0EE85-A3A1-4BED-8315-066AAF42ABD0}"/>
              </a:ext>
            </a:extLst>
          </p:cNvPr>
          <p:cNvPicPr>
            <a:picLocks noChangeAspect="1"/>
          </p:cNvPicPr>
          <p:nvPr/>
        </p:nvPicPr>
        <p:blipFill rotWithShape="1">
          <a:blip r:embed="rId5"/>
          <a:srcRect l="7846"/>
          <a:stretch/>
        </p:blipFill>
        <p:spPr>
          <a:xfrm>
            <a:off x="-504607" y="321060"/>
            <a:ext cx="7685018" cy="6536940"/>
          </a:xfrm>
          <a:prstGeom prst="rect">
            <a:avLst/>
          </a:prstGeom>
        </p:spPr>
      </p:pic>
      <p:sp>
        <p:nvSpPr>
          <p:cNvPr id="5" name="Rectangle 4">
            <a:extLst>
              <a:ext uri="{FF2B5EF4-FFF2-40B4-BE49-F238E27FC236}">
                <a16:creationId xmlns:a16="http://schemas.microsoft.com/office/drawing/2014/main" id="{95E5CF84-5413-426B-8750-88E19851FD27}"/>
              </a:ext>
            </a:extLst>
          </p:cNvPr>
          <p:cNvSpPr/>
          <p:nvPr/>
        </p:nvSpPr>
        <p:spPr>
          <a:xfrm>
            <a:off x="114318" y="-168090"/>
            <a:ext cx="12261269" cy="5247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a:extLst>
              <a:ext uri="{FF2B5EF4-FFF2-40B4-BE49-F238E27FC236}">
                <a16:creationId xmlns:a16="http://schemas.microsoft.com/office/drawing/2014/main" id="{CEEB8728-D060-4DBE-8CB9-F0389A7FDAFF}"/>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CEEB8728-D060-4DBE-8CB9-F0389A7FDAF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54E97BD2-F283-4961-9F16-F38864582FC9}"/>
              </a:ext>
            </a:extLst>
          </p:cNvPr>
          <p:cNvGrpSpPr/>
          <p:nvPr/>
        </p:nvGrpSpPr>
        <p:grpSpPr>
          <a:xfrm>
            <a:off x="0" y="0"/>
            <a:ext cx="12192000" cy="6862338"/>
            <a:chOff x="0" y="0"/>
            <a:chExt cx="12192000" cy="6862338"/>
          </a:xfrm>
        </p:grpSpPr>
        <p:sp>
          <p:nvSpPr>
            <p:cNvPr id="12" name="Rectangle 11">
              <a:extLst>
                <a:ext uri="{FF2B5EF4-FFF2-40B4-BE49-F238E27FC236}">
                  <a16:creationId xmlns:a16="http://schemas.microsoft.com/office/drawing/2014/main" id="{9AA416D9-5905-4587-B8B2-8A1EE377F43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2E1CA134-54AE-4580-9689-B001148A7BB5}"/>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ight Triangle 13">
              <a:extLst>
                <a:ext uri="{FF2B5EF4-FFF2-40B4-BE49-F238E27FC236}">
                  <a16:creationId xmlns:a16="http://schemas.microsoft.com/office/drawing/2014/main" id="{84FCED4A-7369-43F3-9486-02AC034C4C4E}"/>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D9DA79-B818-4AA2-BBC1-4FD2BCA9268E}"/>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19608F70-B70E-46E1-839C-9103DE9588D6}"/>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Box 4">
              <a:extLst>
                <a:ext uri="{FF2B5EF4-FFF2-40B4-BE49-F238E27FC236}">
                  <a16:creationId xmlns:a16="http://schemas.microsoft.com/office/drawing/2014/main" id="{460EA15F-4AE6-4D3A-8C0A-81EAA3242908}"/>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8" name="Picture 17" descr="Logo, icon&#10;&#10;Description automatically generated">
              <a:extLst>
                <a:ext uri="{FF2B5EF4-FFF2-40B4-BE49-F238E27FC236}">
                  <a16:creationId xmlns:a16="http://schemas.microsoft.com/office/drawing/2014/main" id="{E22CEF63-F20F-455D-82C4-669EDC45DA3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9" name="Right Triangle 18">
              <a:extLst>
                <a:ext uri="{FF2B5EF4-FFF2-40B4-BE49-F238E27FC236}">
                  <a16:creationId xmlns:a16="http://schemas.microsoft.com/office/drawing/2014/main" id="{863FCFF6-096D-4EE4-84E1-F2CC4694A53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F4F85283-9839-43A1-A511-941F1FEEDFF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ight Triangle 20">
              <a:extLst>
                <a:ext uri="{FF2B5EF4-FFF2-40B4-BE49-F238E27FC236}">
                  <a16:creationId xmlns:a16="http://schemas.microsoft.com/office/drawing/2014/main" id="{290F6A2F-17FB-4847-8DB7-5C95D03220E8}"/>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Google Shape;70;p14">
            <a:extLst>
              <a:ext uri="{FF2B5EF4-FFF2-40B4-BE49-F238E27FC236}">
                <a16:creationId xmlns:a16="http://schemas.microsoft.com/office/drawing/2014/main" id="{6640B7EC-94BF-4790-B122-977BDCBE4D14}"/>
              </a:ext>
            </a:extLst>
          </p:cNvPr>
          <p:cNvSpPr txBox="1"/>
          <p:nvPr/>
        </p:nvSpPr>
        <p:spPr>
          <a:xfrm>
            <a:off x="7289534" y="923003"/>
            <a:ext cx="4638609" cy="5698296"/>
          </a:xfrm>
          <a:prstGeom prst="rect">
            <a:avLst/>
          </a:prstGeom>
          <a:noFill/>
          <a:ln>
            <a:noFill/>
          </a:ln>
        </p:spPr>
        <p:txBody>
          <a:bodyPr spcFirstLastPara="1" wrap="square" lIns="0" tIns="91425" rIns="0" bIns="91425" anchor="t" anchorCtr="0">
            <a:noAutofit/>
          </a:bodyPr>
          <a:lstStyle/>
          <a:p>
            <a:pPr>
              <a:defRPr/>
            </a:pPr>
            <a:r>
              <a:rPr lang="en-GB" dirty="0" err="1">
                <a:solidFill>
                  <a:schemeClr val="bg1"/>
                </a:solidFill>
                <a:latin typeface="Tahoma" panose="020B0604030504040204" pitchFamily="34" charset="0"/>
                <a:ea typeface="Tahoma" panose="020B0604030504040204" pitchFamily="34" charset="0"/>
                <a:cs typeface="Tahoma" panose="020B0604030504040204" pitchFamily="34" charset="0"/>
              </a:rPr>
              <a:t>Wrightbus</a:t>
            </a: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fuel-cell electric vehicle provides a zero-emission hybrid drive platform which encompasses a hydrogen fuel cell with: </a:t>
            </a:r>
          </a:p>
          <a:p>
            <a:pPr marL="800100" lvl="1" indent="-342900">
              <a:buFont typeface="+mj-lt"/>
              <a:buAutoNum type="arabicPeriod"/>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H</a:t>
            </a:r>
            <a:r>
              <a:rPr lang="en-GB" baseline="-25000" dirty="0">
                <a:solidFill>
                  <a:schemeClr val="bg1"/>
                </a:solidFill>
                <a:latin typeface="Tahoma" panose="020B0604030504040204" pitchFamily="34" charset="0"/>
                <a:ea typeface="Tahoma" panose="020B0604030504040204" pitchFamily="34" charset="0"/>
                <a:cs typeface="Tahoma" panose="020B0604030504040204" pitchFamily="34" charset="0"/>
              </a:rPr>
              <a:t>2</a:t>
            </a: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Storage tanks</a:t>
            </a:r>
          </a:p>
          <a:p>
            <a:pPr marL="800100" lvl="1" indent="-342900">
              <a:buFont typeface="+mj-lt"/>
              <a:buAutoNum type="arabicPeriod"/>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Battery pack </a:t>
            </a:r>
          </a:p>
          <a:p>
            <a:pPr marL="800100" lvl="1" indent="-342900">
              <a:buFont typeface="+mj-lt"/>
              <a:buAutoNum type="arabicPeriod"/>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Electric drive line</a:t>
            </a:r>
          </a:p>
          <a:p>
            <a:pP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To power both single and double deck buses.</a:t>
            </a:r>
          </a:p>
          <a:p>
            <a:pPr>
              <a:defRPr/>
            </a:pPr>
            <a:endParaRPr lang="en-GB"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The combination of the FCEV technology </a:t>
            </a:r>
            <a:br>
              <a:rPr lang="en-GB"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makes continuous operation of a zero-emission bus possible, offering a reliable system that will operate continually on a day-to-day basis comparable with diesel vehicles.</a:t>
            </a:r>
          </a:p>
          <a:p>
            <a:pPr>
              <a:defRPr/>
            </a:pPr>
            <a:endParaRPr lang="en-GB"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A hydrogen fuel-cell combines hydrogen and oxygen through a proton exchange membrane to produce electricity with only water as a by-product.</a:t>
            </a:r>
          </a:p>
          <a:p>
            <a:pPr marL="152400" marR="154049">
              <a:buClr>
                <a:srgbClr val="434343"/>
              </a:buClr>
              <a:buSzPts val="1200"/>
            </a:pPr>
            <a:endParaRPr lang="en-GB"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Single Corner Snipped 7">
            <a:extLst>
              <a:ext uri="{FF2B5EF4-FFF2-40B4-BE49-F238E27FC236}">
                <a16:creationId xmlns:a16="http://schemas.microsoft.com/office/drawing/2014/main" id="{A3B494EF-7985-455F-BBF6-09C49C23C9EC}"/>
              </a:ext>
            </a:extLst>
          </p:cNvPr>
          <p:cNvSpPr/>
          <p:nvPr/>
        </p:nvSpPr>
        <p:spPr>
          <a:xfrm flipH="1" flipV="1">
            <a:off x="5057775" y="-101834"/>
            <a:ext cx="3829050" cy="878023"/>
          </a:xfrm>
          <a:prstGeom prst="snip1Rect">
            <a:avLst>
              <a:gd name="adj" fmla="val 28298"/>
            </a:avLst>
          </a:prstGeom>
          <a:gradFill flip="none" rotWithShape="0">
            <a:gsLst>
              <a:gs pos="35000">
                <a:schemeClr val="tx1">
                  <a:alpha val="75000"/>
                </a:schemeClr>
              </a:gs>
              <a:gs pos="0">
                <a:schemeClr val="tx1">
                  <a:alpha val="0"/>
                </a:schemeClr>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
            <a:extLst>
              <a:ext uri="{FF2B5EF4-FFF2-40B4-BE49-F238E27FC236}">
                <a16:creationId xmlns:a16="http://schemas.microsoft.com/office/drawing/2014/main" id="{57850337-1C91-4DAE-9042-22E30B970B6C}"/>
              </a:ext>
            </a:extLst>
          </p:cNvPr>
          <p:cNvSpPr txBox="1">
            <a:spLocks noChangeArrowheads="1"/>
          </p:cNvSpPr>
          <p:nvPr/>
        </p:nvSpPr>
        <p:spPr bwMode="auto">
          <a:xfrm>
            <a:off x="4467225" y="19318"/>
            <a:ext cx="7610457" cy="958039"/>
          </a:xfrm>
          <a:prstGeom prst="flowChartAlternateProcess">
            <a:avLst/>
          </a:prstGeom>
          <a:noFill/>
          <a:ln>
            <a:noFill/>
          </a:ln>
        </p:spPr>
        <p:txBody>
          <a:bodyPr/>
          <a:lstStyle>
            <a:lvl1pPr eaLnBrk="0" hangingPunct="0">
              <a:defRPr>
                <a:solidFill>
                  <a:schemeClr val="tx1"/>
                </a:solidFill>
                <a:latin typeface="Calibri" panose="020F0502020204030204" pitchFamily="34" charset="0"/>
                <a:ea typeface="MS PGothic" panose="020B0600070205080204" pitchFamily="34" charset="-128"/>
              </a:defRPr>
            </a:lvl1pPr>
            <a:lvl2pPr marL="742950" indent="-285750" eaLnBrk="0" hangingPunct="0">
              <a:defRPr>
                <a:solidFill>
                  <a:schemeClr val="tx1"/>
                </a:solidFill>
                <a:latin typeface="Calibri" panose="020F0502020204030204" pitchFamily="34" charset="0"/>
                <a:ea typeface="MS PGothic" panose="020B0600070205080204" pitchFamily="34" charset="-128"/>
              </a:defRPr>
            </a:lvl2pPr>
            <a:lvl3pPr marL="1143000" indent="-228600" eaLnBrk="0" hangingPunct="0">
              <a:defRPr>
                <a:solidFill>
                  <a:schemeClr val="tx1"/>
                </a:solidFill>
                <a:latin typeface="Calibri" panose="020F0502020204030204" pitchFamily="34" charset="0"/>
                <a:ea typeface="MS PGothic" panose="020B0600070205080204" pitchFamily="34" charset="-128"/>
              </a:defRPr>
            </a:lvl3pPr>
            <a:lvl4pPr marL="1600200" indent="-228600" eaLnBrk="0" hangingPunct="0">
              <a:defRPr>
                <a:solidFill>
                  <a:schemeClr val="tx1"/>
                </a:solidFill>
                <a:latin typeface="Calibri" panose="020F0502020204030204" pitchFamily="34" charset="0"/>
                <a:ea typeface="MS PGothic" panose="020B0600070205080204" pitchFamily="34" charset="-128"/>
              </a:defRPr>
            </a:lvl4pPr>
            <a:lvl5pPr marL="2057400" indent="-228600" eaLnBrk="0" hangingPunct="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eaLnBrk="1" hangingPunct="1"/>
            <a:r>
              <a:rPr lang="en-GB" altLang="en-US" sz="4400" b="1" dirty="0">
                <a:solidFill>
                  <a:schemeClr val="bg1"/>
                </a:solidFill>
                <a:effectLst>
                  <a:outerShdw blurRad="76200" sx="102000" sy="102000" algn="ctr" rotWithShape="0">
                    <a:prstClr val="black">
                      <a:alpha val="80000"/>
                    </a:prstClr>
                  </a:outerShdw>
                </a:effectLst>
                <a:latin typeface="Tahoma" panose="020B0604030504040204" pitchFamily="34" charset="0"/>
                <a:ea typeface="Tahoma" panose="020B0604030504040204" pitchFamily="34" charset="0"/>
                <a:cs typeface="Tahoma" panose="020B0604030504040204" pitchFamily="34" charset="0"/>
                <a:sym typeface="Roboto"/>
              </a:rPr>
              <a:t>Fuel-Cell Electric Vehicle</a:t>
            </a:r>
            <a:endParaRPr lang="en-GB" altLang="en-US" sz="4400" dirty="0">
              <a:solidFill>
                <a:schemeClr val="bg1"/>
              </a:solidFill>
              <a:effectLst>
                <a:outerShdw blurRad="63500" sx="102000" sy="102000" algn="ctr" rotWithShape="0">
                  <a:prstClr val="black">
                    <a:alpha val="90000"/>
                  </a:prstClr>
                </a:outerShdw>
              </a:effectLst>
              <a:latin typeface="Tahoma" panose="020B0604030504040204" pitchFamily="34" charset="0"/>
              <a:ea typeface="Tahoma" panose="020B0604030504040204" pitchFamily="34" charset="0"/>
              <a:cs typeface="Tahoma" panose="020B0604030504040204" pitchFamily="34" charset="0"/>
              <a:sym typeface="Roboto"/>
            </a:endParaRPr>
          </a:p>
        </p:txBody>
      </p:sp>
      <p:sp>
        <p:nvSpPr>
          <p:cNvPr id="34" name="Subtitle 2">
            <a:extLst>
              <a:ext uri="{FF2B5EF4-FFF2-40B4-BE49-F238E27FC236}">
                <a16:creationId xmlns:a16="http://schemas.microsoft.com/office/drawing/2014/main" id="{FBD868E8-C385-4A68-A56E-B55EB3A59146}"/>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4</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22" name="Group 21">
            <a:extLst>
              <a:ext uri="{FF2B5EF4-FFF2-40B4-BE49-F238E27FC236}">
                <a16:creationId xmlns:a16="http://schemas.microsoft.com/office/drawing/2014/main" id="{5301F2CB-8251-4BC0-888F-CE5784584C56}"/>
              </a:ext>
            </a:extLst>
          </p:cNvPr>
          <p:cNvGrpSpPr/>
          <p:nvPr/>
        </p:nvGrpSpPr>
        <p:grpSpPr>
          <a:xfrm>
            <a:off x="0" y="0"/>
            <a:ext cx="12751007" cy="6886993"/>
            <a:chOff x="0" y="0"/>
            <a:chExt cx="12751007" cy="6886993"/>
          </a:xfrm>
        </p:grpSpPr>
        <p:grpSp>
          <p:nvGrpSpPr>
            <p:cNvPr id="25" name="Group 24">
              <a:extLst>
                <a:ext uri="{FF2B5EF4-FFF2-40B4-BE49-F238E27FC236}">
                  <a16:creationId xmlns:a16="http://schemas.microsoft.com/office/drawing/2014/main" id="{83D0D557-2FE4-469B-AE38-489ECDE0085F}"/>
                </a:ext>
              </a:extLst>
            </p:cNvPr>
            <p:cNvGrpSpPr/>
            <p:nvPr/>
          </p:nvGrpSpPr>
          <p:grpSpPr>
            <a:xfrm>
              <a:off x="0" y="0"/>
              <a:ext cx="12751007" cy="6886993"/>
              <a:chOff x="0" y="0"/>
              <a:chExt cx="12751007" cy="6886993"/>
            </a:xfrm>
          </p:grpSpPr>
          <p:sp>
            <p:nvSpPr>
              <p:cNvPr id="29" name="Rectangle 28">
                <a:extLst>
                  <a:ext uri="{FF2B5EF4-FFF2-40B4-BE49-F238E27FC236}">
                    <a16:creationId xmlns:a16="http://schemas.microsoft.com/office/drawing/2014/main" id="{3B58D20B-A71F-4E58-9B00-00F09D12EAEB}"/>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ight Triangle 29">
                <a:extLst>
                  <a:ext uri="{FF2B5EF4-FFF2-40B4-BE49-F238E27FC236}">
                    <a16:creationId xmlns:a16="http://schemas.microsoft.com/office/drawing/2014/main" id="{AC526FCC-49DD-479D-AD1A-B39182E06F3F}"/>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ight Triangle 30">
                <a:extLst>
                  <a:ext uri="{FF2B5EF4-FFF2-40B4-BE49-F238E27FC236}">
                    <a16:creationId xmlns:a16="http://schemas.microsoft.com/office/drawing/2014/main" id="{DE25B19A-93CD-4DAA-B812-C32086C82C98}"/>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656C14F0-B7FF-49B5-B79F-837D207A0A17}"/>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DA7F9E58-5A1D-401E-BECC-907BC50F3721}"/>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ight Triangle 34">
                <a:extLst>
                  <a:ext uri="{FF2B5EF4-FFF2-40B4-BE49-F238E27FC236}">
                    <a16:creationId xmlns:a16="http://schemas.microsoft.com/office/drawing/2014/main" id="{45C61875-0461-4FB2-A595-E606B6D4641F}"/>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ight Triangle 35">
                <a:extLst>
                  <a:ext uri="{FF2B5EF4-FFF2-40B4-BE49-F238E27FC236}">
                    <a16:creationId xmlns:a16="http://schemas.microsoft.com/office/drawing/2014/main" id="{9913ACF3-D3ED-4A5F-AECC-668FCB7838D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ight Triangle 36">
                <a:extLst>
                  <a:ext uri="{FF2B5EF4-FFF2-40B4-BE49-F238E27FC236}">
                    <a16:creationId xmlns:a16="http://schemas.microsoft.com/office/drawing/2014/main" id="{7ACFECFB-01FB-45E5-978F-49CF5F6A5285}"/>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Text Box 4">
                <a:extLst>
                  <a:ext uri="{FF2B5EF4-FFF2-40B4-BE49-F238E27FC236}">
                    <a16:creationId xmlns:a16="http://schemas.microsoft.com/office/drawing/2014/main" id="{9C2027DE-EE30-4035-B547-827BB8BC17D5}"/>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26" name="Subtitle 2">
              <a:extLst>
                <a:ext uri="{FF2B5EF4-FFF2-40B4-BE49-F238E27FC236}">
                  <a16:creationId xmlns:a16="http://schemas.microsoft.com/office/drawing/2014/main" id="{117D4EB9-02B9-481C-A359-C696A235A22B}"/>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4</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7" name="Picture 26">
              <a:extLst>
                <a:ext uri="{FF2B5EF4-FFF2-40B4-BE49-F238E27FC236}">
                  <a16:creationId xmlns:a16="http://schemas.microsoft.com/office/drawing/2014/main" id="{E8756663-31BB-4E19-BA85-7312D8008733}"/>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2948914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25" name="Rectangle 24">
            <a:extLst>
              <a:ext uri="{FF2B5EF4-FFF2-40B4-BE49-F238E27FC236}">
                <a16:creationId xmlns:a16="http://schemas.microsoft.com/office/drawing/2014/main" id="{8CC814F2-23BA-42C7-B971-60DB99664309}"/>
              </a:ext>
            </a:extLst>
          </p:cNvPr>
          <p:cNvSpPr/>
          <p:nvPr/>
        </p:nvSpPr>
        <p:spPr>
          <a:xfrm>
            <a:off x="7581900" y="110139"/>
            <a:ext cx="4610100" cy="67478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Picture 25">
            <a:extLst>
              <a:ext uri="{FF2B5EF4-FFF2-40B4-BE49-F238E27FC236}">
                <a16:creationId xmlns:a16="http://schemas.microsoft.com/office/drawing/2014/main" id="{FD81FAF2-F8E1-495C-AFB1-262E176DB0D8}"/>
              </a:ext>
            </a:extLst>
          </p:cNvPr>
          <p:cNvPicPr>
            <a:picLocks noChangeAspect="1"/>
          </p:cNvPicPr>
          <p:nvPr/>
        </p:nvPicPr>
        <p:blipFill rotWithShape="1">
          <a:blip r:embed="rId5"/>
          <a:srcRect l="7846"/>
          <a:stretch/>
        </p:blipFill>
        <p:spPr>
          <a:xfrm>
            <a:off x="4267200" y="3233"/>
            <a:ext cx="7935710" cy="6750181"/>
          </a:xfrm>
          <a:prstGeom prst="rect">
            <a:avLst/>
          </a:prstGeom>
        </p:spPr>
      </p:pic>
      <p:sp>
        <p:nvSpPr>
          <p:cNvPr id="27" name="Rectangle 26">
            <a:extLst>
              <a:ext uri="{FF2B5EF4-FFF2-40B4-BE49-F238E27FC236}">
                <a16:creationId xmlns:a16="http://schemas.microsoft.com/office/drawing/2014/main" id="{1E5E0BE2-9161-42FF-8C91-EE53396781B6}"/>
              </a:ext>
            </a:extLst>
          </p:cNvPr>
          <p:cNvSpPr/>
          <p:nvPr/>
        </p:nvSpPr>
        <p:spPr>
          <a:xfrm>
            <a:off x="0" y="-1"/>
            <a:ext cx="12202909" cy="6747862"/>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2" name="Object 1" hidden="1">
            <a:extLst>
              <a:ext uri="{FF2B5EF4-FFF2-40B4-BE49-F238E27FC236}">
                <a16:creationId xmlns:a16="http://schemas.microsoft.com/office/drawing/2014/main" id="{CEEB8728-D060-4DBE-8CB9-F0389A7FDAFF}"/>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CEEB8728-D060-4DBE-8CB9-F0389A7FDAF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BBEB5374-9526-4923-B6AF-FFCECDC20BA2}"/>
              </a:ext>
            </a:extLst>
          </p:cNvPr>
          <p:cNvSpPr/>
          <p:nvPr/>
        </p:nvSpPr>
        <p:spPr>
          <a:xfrm>
            <a:off x="-10909" y="-5554"/>
            <a:ext cx="5953125" cy="6747862"/>
          </a:xfrm>
          <a:prstGeom prst="rect">
            <a:avLst/>
          </a:prstGeom>
          <a:gradFill>
            <a:gsLst>
              <a:gs pos="77000">
                <a:schemeClr val="tx1"/>
              </a:gs>
              <a:gs pos="0">
                <a:schemeClr val="tx1"/>
              </a:gs>
              <a:gs pos="100000">
                <a:srgbClr val="55535B">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2">
            <a:extLst>
              <a:ext uri="{FF2B5EF4-FFF2-40B4-BE49-F238E27FC236}">
                <a16:creationId xmlns:a16="http://schemas.microsoft.com/office/drawing/2014/main" id="{00F38643-CE32-44AD-8B01-4AAB42A38FB0}"/>
              </a:ext>
            </a:extLst>
          </p:cNvPr>
          <p:cNvSpPr txBox="1">
            <a:spLocks noChangeArrowheads="1"/>
          </p:cNvSpPr>
          <p:nvPr/>
        </p:nvSpPr>
        <p:spPr bwMode="auto">
          <a:xfrm>
            <a:off x="917609" y="262676"/>
            <a:ext cx="833930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MS PGothic" panose="020B0600070205080204" pitchFamily="34" charset="-128"/>
              </a:defRPr>
            </a:lvl1pPr>
            <a:lvl2pPr marL="742950" indent="-285750" eaLnBrk="0" hangingPunct="0">
              <a:defRPr>
                <a:solidFill>
                  <a:schemeClr val="tx1"/>
                </a:solidFill>
                <a:latin typeface="Calibri" panose="020F0502020204030204" pitchFamily="34" charset="0"/>
                <a:ea typeface="MS PGothic" panose="020B0600070205080204" pitchFamily="34" charset="-128"/>
              </a:defRPr>
            </a:lvl2pPr>
            <a:lvl3pPr marL="1143000" indent="-228600" eaLnBrk="0" hangingPunct="0">
              <a:defRPr>
                <a:solidFill>
                  <a:schemeClr val="tx1"/>
                </a:solidFill>
                <a:latin typeface="Calibri" panose="020F0502020204030204" pitchFamily="34" charset="0"/>
                <a:ea typeface="MS PGothic" panose="020B0600070205080204" pitchFamily="34" charset="-128"/>
              </a:defRPr>
            </a:lvl3pPr>
            <a:lvl4pPr marL="1600200" indent="-228600" eaLnBrk="0" hangingPunct="0">
              <a:defRPr>
                <a:solidFill>
                  <a:schemeClr val="tx1"/>
                </a:solidFill>
                <a:latin typeface="Calibri" panose="020F0502020204030204" pitchFamily="34" charset="0"/>
                <a:ea typeface="MS PGothic" panose="020B0600070205080204" pitchFamily="34" charset="-128"/>
              </a:defRPr>
            </a:lvl4pPr>
            <a:lvl5pPr marL="2057400" indent="-228600" eaLnBrk="0" hangingPunct="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r>
              <a:rPr lang="en-GB" altLang="en-US" sz="4400" b="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rPr>
              <a:t>What is a fuel-cell?</a:t>
            </a:r>
          </a:p>
        </p:txBody>
      </p:sp>
      <p:grpSp>
        <p:nvGrpSpPr>
          <p:cNvPr id="11" name="Group 10">
            <a:extLst>
              <a:ext uri="{FF2B5EF4-FFF2-40B4-BE49-F238E27FC236}">
                <a16:creationId xmlns:a16="http://schemas.microsoft.com/office/drawing/2014/main" id="{54E97BD2-F283-4961-9F16-F38864582FC9}"/>
              </a:ext>
            </a:extLst>
          </p:cNvPr>
          <p:cNvGrpSpPr/>
          <p:nvPr/>
        </p:nvGrpSpPr>
        <p:grpSpPr>
          <a:xfrm>
            <a:off x="0" y="0"/>
            <a:ext cx="12192000" cy="6862338"/>
            <a:chOff x="0" y="0"/>
            <a:chExt cx="12192000" cy="6862338"/>
          </a:xfrm>
        </p:grpSpPr>
        <p:sp>
          <p:nvSpPr>
            <p:cNvPr id="12" name="Rectangle 11">
              <a:extLst>
                <a:ext uri="{FF2B5EF4-FFF2-40B4-BE49-F238E27FC236}">
                  <a16:creationId xmlns:a16="http://schemas.microsoft.com/office/drawing/2014/main" id="{9AA416D9-5905-4587-B8B2-8A1EE377F43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2E1CA134-54AE-4580-9689-B001148A7BB5}"/>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ight Triangle 13">
              <a:extLst>
                <a:ext uri="{FF2B5EF4-FFF2-40B4-BE49-F238E27FC236}">
                  <a16:creationId xmlns:a16="http://schemas.microsoft.com/office/drawing/2014/main" id="{84FCED4A-7369-43F3-9486-02AC034C4C4E}"/>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D9DA79-B818-4AA2-BBC1-4FD2BCA9268E}"/>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19608F70-B70E-46E1-839C-9103DE9588D6}"/>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Box 4">
              <a:extLst>
                <a:ext uri="{FF2B5EF4-FFF2-40B4-BE49-F238E27FC236}">
                  <a16:creationId xmlns:a16="http://schemas.microsoft.com/office/drawing/2014/main" id="{460EA15F-4AE6-4D3A-8C0A-81EAA3242908}"/>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8" name="Picture 17" descr="Logo, icon&#10;&#10;Description automatically generated">
              <a:extLst>
                <a:ext uri="{FF2B5EF4-FFF2-40B4-BE49-F238E27FC236}">
                  <a16:creationId xmlns:a16="http://schemas.microsoft.com/office/drawing/2014/main" id="{E22CEF63-F20F-455D-82C4-669EDC45DA3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9" name="Right Triangle 18">
              <a:extLst>
                <a:ext uri="{FF2B5EF4-FFF2-40B4-BE49-F238E27FC236}">
                  <a16:creationId xmlns:a16="http://schemas.microsoft.com/office/drawing/2014/main" id="{863FCFF6-096D-4EE4-84E1-F2CC4694A53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F4F85283-9839-43A1-A511-941F1FEEDFF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ight Triangle 20">
              <a:extLst>
                <a:ext uri="{FF2B5EF4-FFF2-40B4-BE49-F238E27FC236}">
                  <a16:creationId xmlns:a16="http://schemas.microsoft.com/office/drawing/2014/main" id="{290F6A2F-17FB-4847-8DB7-5C95D03220E8}"/>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 name="Rectangle 7">
            <a:extLst>
              <a:ext uri="{FF2B5EF4-FFF2-40B4-BE49-F238E27FC236}">
                <a16:creationId xmlns:a16="http://schemas.microsoft.com/office/drawing/2014/main" id="{77514440-7CA1-4145-9496-2AD85F38B74F}"/>
              </a:ext>
            </a:extLst>
          </p:cNvPr>
          <p:cNvSpPr/>
          <p:nvPr/>
        </p:nvSpPr>
        <p:spPr>
          <a:xfrm>
            <a:off x="177971" y="5783144"/>
            <a:ext cx="5083425" cy="338554"/>
          </a:xfrm>
          <a:prstGeom prst="rect">
            <a:avLst/>
          </a:prstGeom>
        </p:spPr>
        <p:txBody>
          <a:bodyPr wrap="square">
            <a:spAutoFit/>
          </a:bodyPr>
          <a:lstStyle/>
          <a:p>
            <a:pPr algn="r"/>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hlinkClick r:id="rId10">
                  <a:extLst>
                    <a:ext uri="{A12FA001-AC4F-418D-AE19-62706E023703}">
                      <ahyp:hlinkClr xmlns:ahyp="http://schemas.microsoft.com/office/drawing/2018/hyperlinkcolor" val="tx"/>
                    </a:ext>
                  </a:extLst>
                </a:hlinkClick>
              </a:rPr>
              <a:t>Watch this animation to see how a fuel cell works.</a:t>
            </a:r>
            <a:endParaRPr lang="en-GB" sz="1600" dirty="0">
              <a:solidFill>
                <a:schemeClr val="bg1"/>
              </a:solidFill>
            </a:endParaRPr>
          </a:p>
        </p:txBody>
      </p:sp>
      <p:grpSp>
        <p:nvGrpSpPr>
          <p:cNvPr id="24" name="Group 23">
            <a:extLst>
              <a:ext uri="{FF2B5EF4-FFF2-40B4-BE49-F238E27FC236}">
                <a16:creationId xmlns:a16="http://schemas.microsoft.com/office/drawing/2014/main" id="{FA83D2ED-43A0-452B-925B-A0B2ADAFD8C9}"/>
              </a:ext>
            </a:extLst>
          </p:cNvPr>
          <p:cNvGrpSpPr/>
          <p:nvPr/>
        </p:nvGrpSpPr>
        <p:grpSpPr>
          <a:xfrm>
            <a:off x="-419101" y="1125177"/>
            <a:ext cx="12622012" cy="4650874"/>
            <a:chOff x="-419101" y="1125177"/>
            <a:chExt cx="12622012" cy="4650874"/>
          </a:xfrm>
        </p:grpSpPr>
        <p:sp>
          <p:nvSpPr>
            <p:cNvPr id="70" name="Google Shape;70;p14"/>
            <p:cNvSpPr txBox="1"/>
            <p:nvPr/>
          </p:nvSpPr>
          <p:spPr>
            <a:xfrm>
              <a:off x="5324474" y="2556373"/>
              <a:ext cx="6878436" cy="1332000"/>
            </a:xfrm>
            <a:prstGeom prst="rect">
              <a:avLst/>
            </a:prstGeom>
            <a:solidFill>
              <a:srgbClr val="CD2C31"/>
            </a:solidFill>
            <a:ln>
              <a:noFill/>
            </a:ln>
          </p:spPr>
          <p:txBody>
            <a:bodyPr spcFirstLastPara="1" wrap="square" lIns="91425" tIns="91425" rIns="252000" bIns="91425" anchor="t" anchorCtr="0">
              <a:noAutofit/>
            </a:bodyPr>
            <a:lstStyle/>
            <a:p>
              <a:pPr algn="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Fuel cells produce electricity without combustion, which means that, unlike internal combustion engines, they generate little (if any) noise, vibration, air pollution, or greenhouse gasses and operate at high efficiency over a wide range of loads.</a:t>
              </a:r>
            </a:p>
          </p:txBody>
        </p:sp>
        <p:sp>
          <p:nvSpPr>
            <p:cNvPr id="22" name="Google Shape;70;p14">
              <a:extLst>
                <a:ext uri="{FF2B5EF4-FFF2-40B4-BE49-F238E27FC236}">
                  <a16:creationId xmlns:a16="http://schemas.microsoft.com/office/drawing/2014/main" id="{08346E8F-71E9-40EF-A5A5-E0D71FE0C868}"/>
                </a:ext>
              </a:extLst>
            </p:cNvPr>
            <p:cNvSpPr txBox="1"/>
            <p:nvPr/>
          </p:nvSpPr>
          <p:spPr>
            <a:xfrm>
              <a:off x="5324475" y="1125177"/>
              <a:ext cx="6878436" cy="998898"/>
            </a:xfrm>
            <a:prstGeom prst="rect">
              <a:avLst/>
            </a:prstGeom>
            <a:solidFill>
              <a:srgbClr val="CD2C31"/>
            </a:solidFill>
            <a:ln>
              <a:noFill/>
            </a:ln>
          </p:spPr>
          <p:txBody>
            <a:bodyPr spcFirstLastPara="1" wrap="square" lIns="91425" tIns="91425" rIns="252000" bIns="91425" anchor="t" anchorCtr="0">
              <a:noAutofit/>
            </a:bodyPr>
            <a:lstStyle/>
            <a:p>
              <a:pPr algn="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  A fuel cell combines hydrogen fuel and oxygen from the air to    produce electrical energy efficiently, quietly and reliably. </a:t>
              </a:r>
              <a:br>
                <a:rPr lang="en-GB"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The only by-products are water and heat.</a:t>
              </a:r>
            </a:p>
          </p:txBody>
        </p:sp>
        <p:sp>
          <p:nvSpPr>
            <p:cNvPr id="23" name="Google Shape;70;p14">
              <a:extLst>
                <a:ext uri="{FF2B5EF4-FFF2-40B4-BE49-F238E27FC236}">
                  <a16:creationId xmlns:a16="http://schemas.microsoft.com/office/drawing/2014/main" id="{9E3C85FF-00C6-4E3C-8F20-7B94A00F503D}"/>
                </a:ext>
              </a:extLst>
            </p:cNvPr>
            <p:cNvSpPr txBox="1"/>
            <p:nvPr/>
          </p:nvSpPr>
          <p:spPr>
            <a:xfrm>
              <a:off x="5144564" y="4156051"/>
              <a:ext cx="7047436" cy="1620000"/>
            </a:xfrm>
            <a:prstGeom prst="rect">
              <a:avLst/>
            </a:prstGeom>
            <a:solidFill>
              <a:srgbClr val="CD2C31"/>
            </a:solidFill>
            <a:ln>
              <a:noFill/>
            </a:ln>
          </p:spPr>
          <p:txBody>
            <a:bodyPr spcFirstLastPara="1" wrap="square" lIns="91425" tIns="91425" rIns="252000" bIns="91425" anchor="t" anchorCtr="0">
              <a:noAutofit/>
            </a:bodyPr>
            <a:lstStyle/>
            <a:p>
              <a:pPr algn="r">
                <a:defRPr/>
              </a:pP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Unlike batteries, fuel cells do not have a need for replacement or lengthy recharging when its fuel is spent. Additionally, since fuel-cells store their fuel in external storage tanks, the maximum operating range of a fuel cell-powered device is limited </a:t>
              </a:r>
              <a:br>
                <a:rPr lang="en-GB"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GB" dirty="0">
                  <a:solidFill>
                    <a:schemeClr val="bg1"/>
                  </a:solidFill>
                  <a:latin typeface="Tahoma" panose="020B0604030504040204" pitchFamily="34" charset="0"/>
                  <a:ea typeface="Tahoma" panose="020B0604030504040204" pitchFamily="34" charset="0"/>
                  <a:cs typeface="Tahoma" panose="020B0604030504040204" pitchFamily="34" charset="0"/>
                </a:rPr>
                <a:t>only by the amount of fuel that can be carried.</a:t>
              </a:r>
              <a:endParaRPr lang="en-GB" sz="2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Parallelogram 2">
              <a:extLst>
                <a:ext uri="{FF2B5EF4-FFF2-40B4-BE49-F238E27FC236}">
                  <a16:creationId xmlns:a16="http://schemas.microsoft.com/office/drawing/2014/main" id="{5C0E850E-637C-44F9-9BDA-D3FEFD95029E}"/>
                </a:ext>
              </a:extLst>
            </p:cNvPr>
            <p:cNvSpPr/>
            <p:nvPr/>
          </p:nvSpPr>
          <p:spPr>
            <a:xfrm>
              <a:off x="-419101" y="1143524"/>
              <a:ext cx="5953125" cy="4601955"/>
            </a:xfrm>
            <a:prstGeom prst="parallelogram">
              <a:avLst>
                <a:gd name="adj" fmla="val 7123"/>
              </a:avLst>
            </a:prstGeom>
            <a:solidFill>
              <a:schemeClr val="bg1"/>
            </a:solidFill>
            <a:ln w="50800">
              <a:solidFill>
                <a:srgbClr val="CD2C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Diagram&#10;&#10;Description automatically generated">
              <a:extLst>
                <a:ext uri="{FF2B5EF4-FFF2-40B4-BE49-F238E27FC236}">
                  <a16:creationId xmlns:a16="http://schemas.microsoft.com/office/drawing/2014/main" id="{BE6A0135-B432-45D7-8BF6-C8647886FC11}"/>
                </a:ext>
              </a:extLst>
            </p:cNvPr>
            <p:cNvPicPr>
              <a:picLocks noChangeAspect="1"/>
            </p:cNvPicPr>
            <p:nvPr/>
          </p:nvPicPr>
          <p:blipFill rotWithShape="1">
            <a:blip r:embed="rId11">
              <a:extLst>
                <a:ext uri="{28A0092B-C50C-407E-A947-70E740481C1C}">
                  <a14:useLocalDpi xmlns:a14="http://schemas.microsoft.com/office/drawing/2010/main" val="0"/>
                </a:ext>
              </a:extLst>
            </a:blip>
            <a:srcRect b="3461"/>
            <a:stretch/>
          </p:blipFill>
          <p:spPr>
            <a:xfrm>
              <a:off x="541938" y="1209618"/>
              <a:ext cx="4602626" cy="4374687"/>
            </a:xfrm>
            <a:prstGeom prst="rect">
              <a:avLst/>
            </a:prstGeom>
            <a:ln w="31750">
              <a:noFill/>
            </a:ln>
          </p:spPr>
        </p:pic>
      </p:grpSp>
      <p:pic>
        <p:nvPicPr>
          <p:cNvPr id="30" name="Picture 29">
            <a:extLst>
              <a:ext uri="{FF2B5EF4-FFF2-40B4-BE49-F238E27FC236}">
                <a16:creationId xmlns:a16="http://schemas.microsoft.com/office/drawing/2014/main" id="{6468BD9A-E365-461E-98DD-9E6E770A83B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09281" y="1273695"/>
            <a:ext cx="1016656" cy="1016656"/>
          </a:xfrm>
          <a:prstGeom prst="rect">
            <a:avLst/>
          </a:prstGeom>
        </p:spPr>
      </p:pic>
      <p:sp>
        <p:nvSpPr>
          <p:cNvPr id="31" name="Subtitle 2">
            <a:extLst>
              <a:ext uri="{FF2B5EF4-FFF2-40B4-BE49-F238E27FC236}">
                <a16:creationId xmlns:a16="http://schemas.microsoft.com/office/drawing/2014/main" id="{B9FF3AD4-48A2-493E-AD5A-6EC92A277304}"/>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5</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764479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8EDF631-CA61-45AB-97BA-1455611E3B6F}"/>
              </a:ext>
            </a:extLst>
          </p:cNvPr>
          <p:cNvPicPr>
            <a:picLocks noChangeAspect="1"/>
          </p:cNvPicPr>
          <p:nvPr/>
        </p:nvPicPr>
        <p:blipFill rotWithShape="1">
          <a:blip r:embed="rId5">
            <a:alphaModFix amt="15000"/>
            <a:extLst>
              <a:ext uri="{28A0092B-C50C-407E-A947-70E740481C1C}">
                <a14:useLocalDpi xmlns:a14="http://schemas.microsoft.com/office/drawing/2010/main" val="0"/>
              </a:ext>
            </a:extLst>
          </a:blip>
          <a:srcRect b="31953"/>
          <a:stretch/>
        </p:blipFill>
        <p:spPr>
          <a:xfrm>
            <a:off x="-1" y="-838508"/>
            <a:ext cx="12192000" cy="5530868"/>
          </a:xfrm>
          <a:prstGeom prst="rect">
            <a:avLst/>
          </a:prstGeom>
        </p:spPr>
      </p:pic>
      <p:sp>
        <p:nvSpPr>
          <p:cNvPr id="38" name="Rectangle 37">
            <a:extLst>
              <a:ext uri="{FF2B5EF4-FFF2-40B4-BE49-F238E27FC236}">
                <a16:creationId xmlns:a16="http://schemas.microsoft.com/office/drawing/2014/main" id="{0A9F7659-4F61-4453-82FA-2EB62E25732D}"/>
              </a:ext>
            </a:extLst>
          </p:cNvPr>
          <p:cNvSpPr/>
          <p:nvPr/>
        </p:nvSpPr>
        <p:spPr>
          <a:xfrm>
            <a:off x="-1" y="-2"/>
            <a:ext cx="11113425" cy="144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ight Triangle 38">
            <a:extLst>
              <a:ext uri="{FF2B5EF4-FFF2-40B4-BE49-F238E27FC236}">
                <a16:creationId xmlns:a16="http://schemas.microsoft.com/office/drawing/2014/main" id="{E1E4699E-9101-4E3A-BCB4-50873965F49B}"/>
              </a:ext>
            </a:extLst>
          </p:cNvPr>
          <p:cNvSpPr/>
          <p:nvPr/>
        </p:nvSpPr>
        <p:spPr>
          <a:xfrm flipV="1">
            <a:off x="11113425" y="0"/>
            <a:ext cx="1078575" cy="1439232"/>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Object 4" hidden="1">
            <a:extLst>
              <a:ext uri="{FF2B5EF4-FFF2-40B4-BE49-F238E27FC236}">
                <a16:creationId xmlns:a16="http://schemas.microsoft.com/office/drawing/2014/main" id="{2D3E49AC-6AB8-45E5-A63F-41B87C5D6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444" imgH="443" progId="TCLayout.ActiveDocument.1">
                  <p:embed/>
                </p:oleObj>
              </mc:Choice>
              <mc:Fallback>
                <p:oleObj name="think-cell Slide" r:id="rId6" imgW="444" imgH="443" progId="TCLayout.ActiveDocument.1">
                  <p:embed/>
                  <p:pic>
                    <p:nvPicPr>
                      <p:cNvPr id="5" name="Object 4" hidden="1">
                        <a:extLst>
                          <a:ext uri="{FF2B5EF4-FFF2-40B4-BE49-F238E27FC236}">
                            <a16:creationId xmlns:a16="http://schemas.microsoft.com/office/drawing/2014/main" id="{2D3E49AC-6AB8-45E5-A63F-41B87C5D67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DD10F7-66EC-463F-9134-85D66B35742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le 6">
            <a:extLst>
              <a:ext uri="{FF2B5EF4-FFF2-40B4-BE49-F238E27FC236}">
                <a16:creationId xmlns:a16="http://schemas.microsoft.com/office/drawing/2014/main" id="{CEB82E11-504B-40B5-B41C-DD876B983B36}"/>
              </a:ext>
            </a:extLst>
          </p:cNvPr>
          <p:cNvSpPr>
            <a:spLocks noGrp="1"/>
          </p:cNvSpPr>
          <p:nvPr>
            <p:ph type="title"/>
          </p:nvPr>
        </p:nvSpPr>
        <p:spPr>
          <a:xfrm>
            <a:off x="2073479" y="1460271"/>
            <a:ext cx="8045043" cy="871893"/>
          </a:xfrm>
        </p:spPr>
        <p:txBody>
          <a:bodyPr>
            <a:normAutofit/>
          </a:bodyPr>
          <a:lstStyle/>
          <a:p>
            <a:pPr algn="ctr"/>
            <a:r>
              <a:rPr lang="en-GB" sz="4000" dirty="0">
                <a:latin typeface="Tahoma" panose="020B0604030504040204" pitchFamily="34" charset="0"/>
                <a:ea typeface="Tahoma" panose="020B0604030504040204" pitchFamily="34" charset="0"/>
                <a:cs typeface="Tahoma" panose="020B0604030504040204" pitchFamily="34" charset="0"/>
              </a:rPr>
              <a:t>Orders for 120+ FCEV buses: </a:t>
            </a:r>
            <a:endParaRPr lang="en-GB" sz="4000" dirty="0"/>
          </a:p>
        </p:txBody>
      </p:sp>
      <p:sp>
        <p:nvSpPr>
          <p:cNvPr id="34" name="Rectangle: Rounded Corners 33">
            <a:extLst>
              <a:ext uri="{FF2B5EF4-FFF2-40B4-BE49-F238E27FC236}">
                <a16:creationId xmlns:a16="http://schemas.microsoft.com/office/drawing/2014/main" id="{4B0566FD-4F9E-4784-9104-A93F647785E4}"/>
              </a:ext>
            </a:extLst>
          </p:cNvPr>
          <p:cNvSpPr/>
          <p:nvPr/>
        </p:nvSpPr>
        <p:spPr>
          <a:xfrm>
            <a:off x="1078576" y="121066"/>
            <a:ext cx="10034848" cy="119786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chemeClr val="bg1"/>
                </a:solidFill>
                <a:latin typeface="Tahoma" panose="020B0604030504040204" pitchFamily="34" charset="0"/>
                <a:ea typeface="Tahoma" panose="020B0604030504040204" pitchFamily="34" charset="0"/>
                <a:cs typeface="Tahoma" panose="020B0604030504040204" pitchFamily="34" charset="0"/>
              </a:rPr>
              <a:t>Manufacturer of the Worlds First Double-Deck FCEB</a:t>
            </a:r>
            <a:endParaRPr lang="en-GB" sz="4400" b="1" dirty="0">
              <a:solidFill>
                <a:schemeClr val="bg1"/>
              </a:solidFill>
            </a:endParaRPr>
          </a:p>
        </p:txBody>
      </p:sp>
      <p:grpSp>
        <p:nvGrpSpPr>
          <p:cNvPr id="24" name="Group 23">
            <a:extLst>
              <a:ext uri="{FF2B5EF4-FFF2-40B4-BE49-F238E27FC236}">
                <a16:creationId xmlns:a16="http://schemas.microsoft.com/office/drawing/2014/main" id="{83FDC782-303F-4603-814B-2939B85C8F5A}"/>
              </a:ext>
            </a:extLst>
          </p:cNvPr>
          <p:cNvGrpSpPr/>
          <p:nvPr/>
        </p:nvGrpSpPr>
        <p:grpSpPr>
          <a:xfrm>
            <a:off x="0" y="0"/>
            <a:ext cx="12192000" cy="6862338"/>
            <a:chOff x="0" y="0"/>
            <a:chExt cx="12192000" cy="6862338"/>
          </a:xfrm>
        </p:grpSpPr>
        <p:sp>
          <p:nvSpPr>
            <p:cNvPr id="25" name="Rectangle 24">
              <a:extLst>
                <a:ext uri="{FF2B5EF4-FFF2-40B4-BE49-F238E27FC236}">
                  <a16:creationId xmlns:a16="http://schemas.microsoft.com/office/drawing/2014/main" id="{628D9EB9-6566-4BBD-937F-6141CEE87623}"/>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ight Triangle 25">
              <a:extLst>
                <a:ext uri="{FF2B5EF4-FFF2-40B4-BE49-F238E27FC236}">
                  <a16:creationId xmlns:a16="http://schemas.microsoft.com/office/drawing/2014/main" id="{E963940D-A773-451A-9F2D-E96352ABF4C0}"/>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ight Triangle 26">
              <a:extLst>
                <a:ext uri="{FF2B5EF4-FFF2-40B4-BE49-F238E27FC236}">
                  <a16:creationId xmlns:a16="http://schemas.microsoft.com/office/drawing/2014/main" id="{A743D8F6-D97D-4759-81B8-6DC551C57012}"/>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183A05E8-3FFD-4BCF-B789-04607815E722}"/>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D3F32890-8BFF-46C8-9DF8-D5D3F2B9D62D}"/>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 Box 4">
              <a:extLst>
                <a:ext uri="{FF2B5EF4-FFF2-40B4-BE49-F238E27FC236}">
                  <a16:creationId xmlns:a16="http://schemas.microsoft.com/office/drawing/2014/main" id="{C2B555F6-7D77-489D-A2E0-168ACEA25D10}"/>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32" name="Picture 31" descr="Logo, icon&#10;&#10;Description automatically generated">
              <a:extLst>
                <a:ext uri="{FF2B5EF4-FFF2-40B4-BE49-F238E27FC236}">
                  <a16:creationId xmlns:a16="http://schemas.microsoft.com/office/drawing/2014/main" id="{34639E4E-4113-4723-A44E-B0E95B732855}"/>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35" name="Right Triangle 34">
              <a:extLst>
                <a:ext uri="{FF2B5EF4-FFF2-40B4-BE49-F238E27FC236}">
                  <a16:creationId xmlns:a16="http://schemas.microsoft.com/office/drawing/2014/main" id="{66979205-8854-41D3-9D3D-2A050AA93669}"/>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ight Triangle 35">
              <a:extLst>
                <a:ext uri="{FF2B5EF4-FFF2-40B4-BE49-F238E27FC236}">
                  <a16:creationId xmlns:a16="http://schemas.microsoft.com/office/drawing/2014/main" id="{16DE4A49-6807-4E64-ACD6-FE7D1503A2D7}"/>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ight Triangle 36">
              <a:extLst>
                <a:ext uri="{FF2B5EF4-FFF2-40B4-BE49-F238E27FC236}">
                  <a16:creationId xmlns:a16="http://schemas.microsoft.com/office/drawing/2014/main" id="{ACD94CC7-587E-4C38-936F-5009DB566B8D}"/>
                </a:ext>
              </a:extLst>
            </p:cNvPr>
            <p:cNvSpPr/>
            <p:nvPr userDrawn="1"/>
          </p:nvSpPr>
          <p:spPr>
            <a:xfrm flipV="1">
              <a:off x="0" y="0"/>
              <a:ext cx="1080000" cy="143923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 name="Group 5">
            <a:extLst>
              <a:ext uri="{FF2B5EF4-FFF2-40B4-BE49-F238E27FC236}">
                <a16:creationId xmlns:a16="http://schemas.microsoft.com/office/drawing/2014/main" id="{19DB7EE0-25DF-42CE-AE0B-C0301497BDF1}"/>
              </a:ext>
            </a:extLst>
          </p:cNvPr>
          <p:cNvGrpSpPr>
            <a:grpSpLocks noChangeAspect="1"/>
          </p:cNvGrpSpPr>
          <p:nvPr/>
        </p:nvGrpSpPr>
        <p:grpSpPr>
          <a:xfrm>
            <a:off x="-6000" y="2291046"/>
            <a:ext cx="8387431" cy="2428309"/>
            <a:chOff x="0" y="1793258"/>
            <a:chExt cx="8082396" cy="2340000"/>
          </a:xfrm>
        </p:grpSpPr>
        <p:pic>
          <p:nvPicPr>
            <p:cNvPr id="4104" name="Picture 8" descr="The first three hydrogen double-deckers are going into service with the state-backed Translink bus company in Northern Ireland">
              <a:extLst>
                <a:ext uri="{FF2B5EF4-FFF2-40B4-BE49-F238E27FC236}">
                  <a16:creationId xmlns:a16="http://schemas.microsoft.com/office/drawing/2014/main" id="{A854193A-6A10-4032-8ED6-306482F3D9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17690" y="1793258"/>
              <a:ext cx="4164706" cy="23400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World's First Hydrogen-Powered Double Decker - in Scotland | IE">
              <a:extLst>
                <a:ext uri="{FF2B5EF4-FFF2-40B4-BE49-F238E27FC236}">
                  <a16:creationId xmlns:a16="http://schemas.microsoft.com/office/drawing/2014/main" id="{A4F95252-F560-4A26-89B0-BA271857C88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793258"/>
              <a:ext cx="4475476" cy="234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16C35119-7947-4E37-BF76-9F486A9E6218}"/>
              </a:ext>
            </a:extLst>
          </p:cNvPr>
          <p:cNvGrpSpPr/>
          <p:nvPr/>
        </p:nvGrpSpPr>
        <p:grpSpPr>
          <a:xfrm>
            <a:off x="1443988" y="4801536"/>
            <a:ext cx="9565277" cy="1788820"/>
            <a:chOff x="1443988" y="4677711"/>
            <a:chExt cx="9565277" cy="1788820"/>
          </a:xfrm>
        </p:grpSpPr>
        <p:pic>
          <p:nvPicPr>
            <p:cNvPr id="19" name="Picture 2" descr="Transport for London (TfL) | Smart Classes">
              <a:extLst>
                <a:ext uri="{FF2B5EF4-FFF2-40B4-BE49-F238E27FC236}">
                  <a16:creationId xmlns:a16="http://schemas.microsoft.com/office/drawing/2014/main" id="{47D2B14C-CFF1-4FEF-BBEB-BC951DE5A05D}"/>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530208" y="4786463"/>
              <a:ext cx="2508974" cy="771154"/>
            </a:xfrm>
            <a:prstGeom prst="rect">
              <a:avLst/>
            </a:prstGeom>
            <a:solidFill>
              <a:schemeClr val="bg1"/>
            </a:solidFill>
          </p:spPr>
        </p:pic>
        <p:pic>
          <p:nvPicPr>
            <p:cNvPr id="20" name="Picture 4" descr="Translink | Travel and Transport | Visit Belfast">
              <a:extLst>
                <a:ext uri="{FF2B5EF4-FFF2-40B4-BE49-F238E27FC236}">
                  <a16:creationId xmlns:a16="http://schemas.microsoft.com/office/drawing/2014/main" id="{7CF0E70F-410F-4D7F-9903-D93B33E9B687}"/>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34880" b="38432"/>
            <a:stretch/>
          </p:blipFill>
          <p:spPr bwMode="auto">
            <a:xfrm>
              <a:off x="6589271" y="4739298"/>
              <a:ext cx="2270985" cy="717906"/>
            </a:xfrm>
            <a:prstGeom prst="rect">
              <a:avLst/>
            </a:prstGeom>
            <a:solidFill>
              <a:schemeClr val="bg1"/>
            </a:solidFill>
          </p:spPr>
        </p:pic>
        <p:pic>
          <p:nvPicPr>
            <p:cNvPr id="21" name="Picture 6" descr="Home - National Transport">
              <a:extLst>
                <a:ext uri="{FF2B5EF4-FFF2-40B4-BE49-F238E27FC236}">
                  <a16:creationId xmlns:a16="http://schemas.microsoft.com/office/drawing/2014/main" id="{33C120D4-6568-4E29-A819-85DEB3933403}"/>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9399774" y="4742577"/>
              <a:ext cx="1609491" cy="936000"/>
            </a:xfrm>
            <a:prstGeom prst="rect">
              <a:avLst/>
            </a:prstGeom>
            <a:solidFill>
              <a:schemeClr val="bg1"/>
            </a:solidFill>
          </p:spPr>
        </p:pic>
        <p:pic>
          <p:nvPicPr>
            <p:cNvPr id="4110" name="Picture 14" descr="Aberdeen City Council: 7,500 houses - 45% residents engagement - DREam">
              <a:extLst>
                <a:ext uri="{FF2B5EF4-FFF2-40B4-BE49-F238E27FC236}">
                  <a16:creationId xmlns:a16="http://schemas.microsoft.com/office/drawing/2014/main" id="{DAD861D0-1439-4E10-BD38-CE331E17ABAF}"/>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5586" t="18489" r="24804" b="27255"/>
            <a:stretch/>
          </p:blipFill>
          <p:spPr bwMode="auto">
            <a:xfrm>
              <a:off x="1443988" y="4677711"/>
              <a:ext cx="1536130" cy="126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20CB617-E20F-4B93-B2D5-2E157F7D9152}"/>
                </a:ext>
              </a:extLst>
            </p:cNvPr>
            <p:cNvPicPr>
              <a:picLocks noChangeAspect="1"/>
            </p:cNvPicPr>
            <p:nvPr/>
          </p:nvPicPr>
          <p:blipFill>
            <a:blip r:embed="rId16"/>
            <a:stretch>
              <a:fillRect/>
            </a:stretch>
          </p:blipFill>
          <p:spPr>
            <a:xfrm>
              <a:off x="6589271" y="5818531"/>
              <a:ext cx="2360571" cy="648000"/>
            </a:xfrm>
            <a:prstGeom prst="rect">
              <a:avLst/>
            </a:prstGeom>
          </p:spPr>
        </p:pic>
        <p:pic>
          <p:nvPicPr>
            <p:cNvPr id="8" name="Picture 7">
              <a:extLst>
                <a:ext uri="{FF2B5EF4-FFF2-40B4-BE49-F238E27FC236}">
                  <a16:creationId xmlns:a16="http://schemas.microsoft.com/office/drawing/2014/main" id="{1CF870CF-1E60-4C72-B078-27A65E4F3B8A}"/>
                </a:ext>
              </a:extLst>
            </p:cNvPr>
            <p:cNvPicPr>
              <a:picLocks noChangeAspect="1"/>
            </p:cNvPicPr>
            <p:nvPr/>
          </p:nvPicPr>
          <p:blipFill>
            <a:blip r:embed="rId17"/>
            <a:stretch>
              <a:fillRect/>
            </a:stretch>
          </p:blipFill>
          <p:spPr>
            <a:xfrm>
              <a:off x="3680898" y="5818531"/>
              <a:ext cx="2207593" cy="648000"/>
            </a:xfrm>
            <a:prstGeom prst="rect">
              <a:avLst/>
            </a:prstGeom>
          </p:spPr>
        </p:pic>
      </p:grpSp>
      <p:sp>
        <p:nvSpPr>
          <p:cNvPr id="12" name="Rectangle 11">
            <a:extLst>
              <a:ext uri="{FF2B5EF4-FFF2-40B4-BE49-F238E27FC236}">
                <a16:creationId xmlns:a16="http://schemas.microsoft.com/office/drawing/2014/main" id="{BB78DA27-DA26-41A7-9DB5-CFD6EAFA94F4}"/>
              </a:ext>
            </a:extLst>
          </p:cNvPr>
          <p:cNvSpPr/>
          <p:nvPr/>
        </p:nvSpPr>
        <p:spPr>
          <a:xfrm>
            <a:off x="-6000" y="2190750"/>
            <a:ext cx="12198000" cy="100294"/>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D03DB095-63E0-4209-8905-BE91442C466A}"/>
              </a:ext>
            </a:extLst>
          </p:cNvPr>
          <p:cNvSpPr/>
          <p:nvPr/>
        </p:nvSpPr>
        <p:spPr>
          <a:xfrm>
            <a:off x="0" y="4696801"/>
            <a:ext cx="12198000" cy="100294"/>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Subtitle 2">
            <a:extLst>
              <a:ext uri="{FF2B5EF4-FFF2-40B4-BE49-F238E27FC236}">
                <a16:creationId xmlns:a16="http://schemas.microsoft.com/office/drawing/2014/main" id="{DC696885-D250-4F4C-80E2-416C940D61E7}"/>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6</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41" name="Group 40">
            <a:extLst>
              <a:ext uri="{FF2B5EF4-FFF2-40B4-BE49-F238E27FC236}">
                <a16:creationId xmlns:a16="http://schemas.microsoft.com/office/drawing/2014/main" id="{CCE9482D-56F1-4FE3-8467-8028713CC090}"/>
              </a:ext>
            </a:extLst>
          </p:cNvPr>
          <p:cNvGrpSpPr/>
          <p:nvPr/>
        </p:nvGrpSpPr>
        <p:grpSpPr>
          <a:xfrm>
            <a:off x="0" y="0"/>
            <a:ext cx="12751007" cy="6886993"/>
            <a:chOff x="0" y="0"/>
            <a:chExt cx="12751007" cy="6886993"/>
          </a:xfrm>
        </p:grpSpPr>
        <p:grpSp>
          <p:nvGrpSpPr>
            <p:cNvPr id="42" name="Group 41">
              <a:extLst>
                <a:ext uri="{FF2B5EF4-FFF2-40B4-BE49-F238E27FC236}">
                  <a16:creationId xmlns:a16="http://schemas.microsoft.com/office/drawing/2014/main" id="{9AD41E97-CEA5-4CEB-B7A5-1739C3BBAA19}"/>
                </a:ext>
              </a:extLst>
            </p:cNvPr>
            <p:cNvGrpSpPr/>
            <p:nvPr/>
          </p:nvGrpSpPr>
          <p:grpSpPr>
            <a:xfrm>
              <a:off x="0" y="0"/>
              <a:ext cx="12751007" cy="6886993"/>
              <a:chOff x="0" y="0"/>
              <a:chExt cx="12751007" cy="6886993"/>
            </a:xfrm>
          </p:grpSpPr>
          <p:sp>
            <p:nvSpPr>
              <p:cNvPr id="45" name="Rectangle 44">
                <a:extLst>
                  <a:ext uri="{FF2B5EF4-FFF2-40B4-BE49-F238E27FC236}">
                    <a16:creationId xmlns:a16="http://schemas.microsoft.com/office/drawing/2014/main" id="{6E4DE45C-B839-4DCA-BE10-9F69D4AEDF01}"/>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ight Triangle 47">
                <a:extLst>
                  <a:ext uri="{FF2B5EF4-FFF2-40B4-BE49-F238E27FC236}">
                    <a16:creationId xmlns:a16="http://schemas.microsoft.com/office/drawing/2014/main" id="{147C3C71-6B5F-4BAD-9145-FC8D3FC284DE}"/>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ight Triangle 48">
                <a:extLst>
                  <a:ext uri="{FF2B5EF4-FFF2-40B4-BE49-F238E27FC236}">
                    <a16:creationId xmlns:a16="http://schemas.microsoft.com/office/drawing/2014/main" id="{E19D1721-90C1-424C-80D1-CA1CD0E36471}"/>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D685DDF7-5D78-4BBF-B11A-CC72DD3189AA}"/>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3CE757D7-B306-4B5F-A3D3-9EB6D84F2679}"/>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ight Triangle 51">
                <a:extLst>
                  <a:ext uri="{FF2B5EF4-FFF2-40B4-BE49-F238E27FC236}">
                    <a16:creationId xmlns:a16="http://schemas.microsoft.com/office/drawing/2014/main" id="{1DABBEB0-A9D8-4CC4-9133-47B6593A3B6D}"/>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ight Triangle 52">
                <a:extLst>
                  <a:ext uri="{FF2B5EF4-FFF2-40B4-BE49-F238E27FC236}">
                    <a16:creationId xmlns:a16="http://schemas.microsoft.com/office/drawing/2014/main" id="{83937869-E6F7-4765-A5D0-E4330F8DDE3B}"/>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ight Triangle 53">
                <a:extLst>
                  <a:ext uri="{FF2B5EF4-FFF2-40B4-BE49-F238E27FC236}">
                    <a16:creationId xmlns:a16="http://schemas.microsoft.com/office/drawing/2014/main" id="{B7E5805D-DC3A-4A76-98E8-2AB4EADA2EA7}"/>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Text Box 4">
                <a:extLst>
                  <a:ext uri="{FF2B5EF4-FFF2-40B4-BE49-F238E27FC236}">
                    <a16:creationId xmlns:a16="http://schemas.microsoft.com/office/drawing/2014/main" id="{A8386B97-6272-4260-A4B5-67BEBB5517BA}"/>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43" name="Subtitle 2">
              <a:extLst>
                <a:ext uri="{FF2B5EF4-FFF2-40B4-BE49-F238E27FC236}">
                  <a16:creationId xmlns:a16="http://schemas.microsoft.com/office/drawing/2014/main" id="{3D7AA9FE-4C2C-40E8-ACD9-33A06D15DADE}"/>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6</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44" name="Picture 43">
              <a:extLst>
                <a:ext uri="{FF2B5EF4-FFF2-40B4-BE49-F238E27FC236}">
                  <a16:creationId xmlns:a16="http://schemas.microsoft.com/office/drawing/2014/main" id="{D4BF8126-B3C0-4AEF-9E62-3C28D656E072}"/>
                </a:ext>
              </a:extLst>
            </p:cNvPr>
            <p:cNvPicPr>
              <a:picLocks noChangeAspect="1"/>
            </p:cNvPicPr>
            <p:nvPr/>
          </p:nvPicPr>
          <p:blipFill rotWithShape="1">
            <a:blip r:embed="rId18">
              <a:extLst>
                <a:ext uri="{BEBA8EAE-BF5A-486C-A8C5-ECC9F3942E4B}">
                  <a14:imgProps xmlns:a14="http://schemas.microsoft.com/office/drawing/2010/main">
                    <a14:imgLayer r:embed="rId19">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pic>
        <p:nvPicPr>
          <p:cNvPr id="9" name="Picture 8">
            <a:extLst>
              <a:ext uri="{FF2B5EF4-FFF2-40B4-BE49-F238E27FC236}">
                <a16:creationId xmlns:a16="http://schemas.microsoft.com/office/drawing/2014/main" id="{FC5306DB-E507-4C87-94E9-5C54E6C6162D}"/>
              </a:ext>
            </a:extLst>
          </p:cNvPr>
          <p:cNvPicPr>
            <a:picLocks noChangeAspect="1"/>
          </p:cNvPicPr>
          <p:nvPr/>
        </p:nvPicPr>
        <p:blipFill rotWithShape="1">
          <a:blip r:embed="rId20">
            <a:extLst>
              <a:ext uri="{28A0092B-C50C-407E-A947-70E740481C1C}">
                <a14:useLocalDpi xmlns:a14="http://schemas.microsoft.com/office/drawing/2010/main" val="0"/>
              </a:ext>
            </a:extLst>
          </a:blip>
          <a:srcRect l="21495" t="25464" r="12805" b="14496"/>
          <a:stretch/>
        </p:blipFill>
        <p:spPr>
          <a:xfrm>
            <a:off x="8265881" y="2308834"/>
            <a:ext cx="3926118" cy="2391915"/>
          </a:xfrm>
          <a:prstGeom prst="rect">
            <a:avLst/>
          </a:prstGeom>
        </p:spPr>
      </p:pic>
    </p:spTree>
    <p:extLst>
      <p:ext uri="{BB962C8B-B14F-4D97-AF65-F5344CB8AC3E}">
        <p14:creationId xmlns:p14="http://schemas.microsoft.com/office/powerpoint/2010/main" val="5833630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5" name="Rectangle 4">
            <a:extLst>
              <a:ext uri="{FF2B5EF4-FFF2-40B4-BE49-F238E27FC236}">
                <a16:creationId xmlns:a16="http://schemas.microsoft.com/office/drawing/2014/main" id="{95E5CF84-5413-426B-8750-88E19851FD27}"/>
              </a:ext>
            </a:extLst>
          </p:cNvPr>
          <p:cNvSpPr/>
          <p:nvPr/>
        </p:nvSpPr>
        <p:spPr>
          <a:xfrm>
            <a:off x="0" y="-113758"/>
            <a:ext cx="12261269" cy="3951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2" name="Picture 2" descr="bus">
            <a:extLst>
              <a:ext uri="{FF2B5EF4-FFF2-40B4-BE49-F238E27FC236}">
                <a16:creationId xmlns:a16="http://schemas.microsoft.com/office/drawing/2014/main" id="{F1D08B54-12BC-46EE-B6E2-8AABC397D7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8188"/>
            <a:ext cx="12261269" cy="664790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a:extLst>
              <a:ext uri="{FF2B5EF4-FFF2-40B4-BE49-F238E27FC236}">
                <a16:creationId xmlns:a16="http://schemas.microsoft.com/office/drawing/2014/main" id="{CEEB8728-D060-4DBE-8CB9-F0389A7FDAFF}"/>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6" imgW="216" imgH="216" progId="TCLayout.ActiveDocument.1">
                  <p:embed/>
                </p:oleObj>
              </mc:Choice>
              <mc:Fallback>
                <p:oleObj name="think-cell Slide" r:id="rId6" imgW="216" imgH="216" progId="TCLayout.ActiveDocument.1">
                  <p:embed/>
                  <p:pic>
                    <p:nvPicPr>
                      <p:cNvPr id="2" name="Object 1" hidden="1">
                        <a:extLst>
                          <a:ext uri="{FF2B5EF4-FFF2-40B4-BE49-F238E27FC236}">
                            <a16:creationId xmlns:a16="http://schemas.microsoft.com/office/drawing/2014/main" id="{CEEB8728-D060-4DBE-8CB9-F0389A7FDAF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tangle 2">
            <a:extLst>
              <a:ext uri="{FF2B5EF4-FFF2-40B4-BE49-F238E27FC236}">
                <a16:creationId xmlns:a16="http://schemas.microsoft.com/office/drawing/2014/main" id="{00F38643-CE32-44AD-8B01-4AAB42A38FB0}"/>
              </a:ext>
            </a:extLst>
          </p:cNvPr>
          <p:cNvSpPr txBox="1">
            <a:spLocks noChangeArrowheads="1"/>
          </p:cNvSpPr>
          <p:nvPr/>
        </p:nvSpPr>
        <p:spPr bwMode="auto">
          <a:xfrm>
            <a:off x="3738375" y="19318"/>
            <a:ext cx="8339307" cy="95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MS PGothic" panose="020B0600070205080204" pitchFamily="34" charset="-128"/>
              </a:defRPr>
            </a:lvl1pPr>
            <a:lvl2pPr marL="742950" indent="-285750" eaLnBrk="0" hangingPunct="0">
              <a:defRPr>
                <a:solidFill>
                  <a:schemeClr val="tx1"/>
                </a:solidFill>
                <a:latin typeface="Calibri" panose="020F0502020204030204" pitchFamily="34" charset="0"/>
                <a:ea typeface="MS PGothic" panose="020B0600070205080204" pitchFamily="34" charset="-128"/>
              </a:defRPr>
            </a:lvl2pPr>
            <a:lvl3pPr marL="1143000" indent="-228600" eaLnBrk="0" hangingPunct="0">
              <a:defRPr>
                <a:solidFill>
                  <a:schemeClr val="tx1"/>
                </a:solidFill>
                <a:latin typeface="Calibri" panose="020F0502020204030204" pitchFamily="34" charset="0"/>
                <a:ea typeface="MS PGothic" panose="020B0600070205080204" pitchFamily="34" charset="-128"/>
              </a:defRPr>
            </a:lvl3pPr>
            <a:lvl4pPr marL="1600200" indent="-228600" eaLnBrk="0" hangingPunct="0">
              <a:defRPr>
                <a:solidFill>
                  <a:schemeClr val="tx1"/>
                </a:solidFill>
                <a:latin typeface="Calibri" panose="020F0502020204030204" pitchFamily="34" charset="0"/>
                <a:ea typeface="MS PGothic" panose="020B0600070205080204" pitchFamily="34" charset="-128"/>
              </a:defRPr>
            </a:lvl4pPr>
            <a:lvl5pPr marL="2057400" indent="-228600" eaLnBrk="0" hangingPunct="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eaLnBrk="1" hangingPunct="1"/>
            <a:r>
              <a:rPr lang="en-GB" altLang="en-US" sz="4400" b="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rPr>
              <a:t>Fuel Cell Electric Vehicle</a:t>
            </a:r>
            <a:br>
              <a:rPr lang="en-GB" altLang="en-US" sz="4400" b="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rPr>
            </a:br>
            <a:r>
              <a:rPr lang="en-GB" altLang="en-US" sz="2400" b="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rPr>
              <a:t>First generation FCEV </a:t>
            </a:r>
            <a:r>
              <a:rPr lang="en-GB" altLang="en-US" sz="2400" b="1" dirty="0" err="1">
                <a:solidFill>
                  <a:schemeClr val="bg1"/>
                </a:solidFill>
                <a:latin typeface="Tahoma" panose="020B0604030504040204" pitchFamily="34" charset="0"/>
                <a:ea typeface="Tahoma" panose="020B0604030504040204" pitchFamily="34" charset="0"/>
                <a:cs typeface="Tahoma" panose="020B0604030504040204" pitchFamily="34" charset="0"/>
                <a:sym typeface="Roboto"/>
              </a:rPr>
              <a:t>Streetdeck</a:t>
            </a:r>
            <a:endParaRPr lang="en-GB" altLang="en-US" sz="4400" b="1" dirty="0">
              <a:solidFill>
                <a:schemeClr val="bg1"/>
              </a:solidFill>
              <a:latin typeface="Tahoma" panose="020B0604030504040204" pitchFamily="34" charset="0"/>
              <a:ea typeface="Tahoma" panose="020B0604030504040204" pitchFamily="34" charset="0"/>
              <a:cs typeface="Tahoma" panose="020B0604030504040204" pitchFamily="34" charset="0"/>
              <a:sym typeface="Roboto"/>
            </a:endParaRPr>
          </a:p>
        </p:txBody>
      </p:sp>
      <p:grpSp>
        <p:nvGrpSpPr>
          <p:cNvPr id="11" name="Group 10">
            <a:extLst>
              <a:ext uri="{FF2B5EF4-FFF2-40B4-BE49-F238E27FC236}">
                <a16:creationId xmlns:a16="http://schemas.microsoft.com/office/drawing/2014/main" id="{54E97BD2-F283-4961-9F16-F38864582FC9}"/>
              </a:ext>
            </a:extLst>
          </p:cNvPr>
          <p:cNvGrpSpPr/>
          <p:nvPr/>
        </p:nvGrpSpPr>
        <p:grpSpPr>
          <a:xfrm>
            <a:off x="0" y="0"/>
            <a:ext cx="12192000" cy="6862338"/>
            <a:chOff x="0" y="0"/>
            <a:chExt cx="12192000" cy="6862338"/>
          </a:xfrm>
        </p:grpSpPr>
        <p:sp>
          <p:nvSpPr>
            <p:cNvPr id="12" name="Rectangle 11">
              <a:extLst>
                <a:ext uri="{FF2B5EF4-FFF2-40B4-BE49-F238E27FC236}">
                  <a16:creationId xmlns:a16="http://schemas.microsoft.com/office/drawing/2014/main" id="{9AA416D9-5905-4587-B8B2-8A1EE377F43A}"/>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2E1CA134-54AE-4580-9689-B001148A7BB5}"/>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ight Triangle 13">
              <a:extLst>
                <a:ext uri="{FF2B5EF4-FFF2-40B4-BE49-F238E27FC236}">
                  <a16:creationId xmlns:a16="http://schemas.microsoft.com/office/drawing/2014/main" id="{84FCED4A-7369-43F3-9486-02AC034C4C4E}"/>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D9DA79-B818-4AA2-BBC1-4FD2BCA9268E}"/>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19608F70-B70E-46E1-839C-9103DE9588D6}"/>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Box 4">
              <a:extLst>
                <a:ext uri="{FF2B5EF4-FFF2-40B4-BE49-F238E27FC236}">
                  <a16:creationId xmlns:a16="http://schemas.microsoft.com/office/drawing/2014/main" id="{460EA15F-4AE6-4D3A-8C0A-81EAA3242908}"/>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8" name="Picture 17" descr="Logo, icon&#10;&#10;Description automatically generated">
              <a:extLst>
                <a:ext uri="{FF2B5EF4-FFF2-40B4-BE49-F238E27FC236}">
                  <a16:creationId xmlns:a16="http://schemas.microsoft.com/office/drawing/2014/main" id="{E22CEF63-F20F-455D-82C4-669EDC45DA3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9" name="Right Triangle 18">
              <a:extLst>
                <a:ext uri="{FF2B5EF4-FFF2-40B4-BE49-F238E27FC236}">
                  <a16:creationId xmlns:a16="http://schemas.microsoft.com/office/drawing/2014/main" id="{863FCFF6-096D-4EE4-84E1-F2CC4694A531}"/>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F4F85283-9839-43A1-A511-941F1FEEDFF4}"/>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ight Triangle 20">
              <a:extLst>
                <a:ext uri="{FF2B5EF4-FFF2-40B4-BE49-F238E27FC236}">
                  <a16:creationId xmlns:a16="http://schemas.microsoft.com/office/drawing/2014/main" id="{290F6A2F-17FB-4847-8DB7-5C95D03220E8}"/>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4" name="Subtitle 2">
            <a:extLst>
              <a:ext uri="{FF2B5EF4-FFF2-40B4-BE49-F238E27FC236}">
                <a16:creationId xmlns:a16="http://schemas.microsoft.com/office/drawing/2014/main" id="{F23B6E72-244E-4364-9C64-82D3F606405D}"/>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7</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23" name="Group 22">
            <a:extLst>
              <a:ext uri="{FF2B5EF4-FFF2-40B4-BE49-F238E27FC236}">
                <a16:creationId xmlns:a16="http://schemas.microsoft.com/office/drawing/2014/main" id="{AEB1A7FC-3CF6-4B33-97BE-9DAD329711FC}"/>
              </a:ext>
            </a:extLst>
          </p:cNvPr>
          <p:cNvGrpSpPr/>
          <p:nvPr/>
        </p:nvGrpSpPr>
        <p:grpSpPr>
          <a:xfrm>
            <a:off x="0" y="0"/>
            <a:ext cx="12751007" cy="6886993"/>
            <a:chOff x="0" y="0"/>
            <a:chExt cx="12751007" cy="6886993"/>
          </a:xfrm>
        </p:grpSpPr>
        <p:grpSp>
          <p:nvGrpSpPr>
            <p:cNvPr id="25" name="Group 24">
              <a:extLst>
                <a:ext uri="{FF2B5EF4-FFF2-40B4-BE49-F238E27FC236}">
                  <a16:creationId xmlns:a16="http://schemas.microsoft.com/office/drawing/2014/main" id="{899015C4-1EDD-4EDB-BFFA-E5F42DDDAB98}"/>
                </a:ext>
              </a:extLst>
            </p:cNvPr>
            <p:cNvGrpSpPr/>
            <p:nvPr/>
          </p:nvGrpSpPr>
          <p:grpSpPr>
            <a:xfrm>
              <a:off x="0" y="0"/>
              <a:ext cx="12751007" cy="6886993"/>
              <a:chOff x="0" y="0"/>
              <a:chExt cx="12751007" cy="6886993"/>
            </a:xfrm>
          </p:grpSpPr>
          <p:sp>
            <p:nvSpPr>
              <p:cNvPr id="28" name="Rectangle 27">
                <a:extLst>
                  <a:ext uri="{FF2B5EF4-FFF2-40B4-BE49-F238E27FC236}">
                    <a16:creationId xmlns:a16="http://schemas.microsoft.com/office/drawing/2014/main" id="{85E6F853-6DD2-4825-92DC-B44D3133E998}"/>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ight Triangle 28">
                <a:extLst>
                  <a:ext uri="{FF2B5EF4-FFF2-40B4-BE49-F238E27FC236}">
                    <a16:creationId xmlns:a16="http://schemas.microsoft.com/office/drawing/2014/main" id="{F995879C-68DE-44F9-87C2-340E63D84982}"/>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ight Triangle 29">
                <a:extLst>
                  <a:ext uri="{FF2B5EF4-FFF2-40B4-BE49-F238E27FC236}">
                    <a16:creationId xmlns:a16="http://schemas.microsoft.com/office/drawing/2014/main" id="{88BA78C7-0CCB-4022-ABCF-592A983C4DCA}"/>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1E4EF889-4E7E-4745-B882-B9934A617A2D}"/>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B1D11250-7426-4E9B-9152-93EC942D1477}"/>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ight Triangle 32">
                <a:extLst>
                  <a:ext uri="{FF2B5EF4-FFF2-40B4-BE49-F238E27FC236}">
                    <a16:creationId xmlns:a16="http://schemas.microsoft.com/office/drawing/2014/main" id="{145CE852-B85B-4DFD-91A7-6E92C366EED8}"/>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ight Triangle 33">
                <a:extLst>
                  <a:ext uri="{FF2B5EF4-FFF2-40B4-BE49-F238E27FC236}">
                    <a16:creationId xmlns:a16="http://schemas.microsoft.com/office/drawing/2014/main" id="{249DC73B-3D8B-414A-A78F-73D1AF9A45E2}"/>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ight Triangle 34">
                <a:extLst>
                  <a:ext uri="{FF2B5EF4-FFF2-40B4-BE49-F238E27FC236}">
                    <a16:creationId xmlns:a16="http://schemas.microsoft.com/office/drawing/2014/main" id="{B81BA3CF-EA63-4D35-A5B7-533AA86E57D1}"/>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ext Box 4">
                <a:extLst>
                  <a:ext uri="{FF2B5EF4-FFF2-40B4-BE49-F238E27FC236}">
                    <a16:creationId xmlns:a16="http://schemas.microsoft.com/office/drawing/2014/main" id="{00095CA7-F9CE-4E48-9E10-7C9B7612D94C}"/>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26" name="Subtitle 2">
              <a:extLst>
                <a:ext uri="{FF2B5EF4-FFF2-40B4-BE49-F238E27FC236}">
                  <a16:creationId xmlns:a16="http://schemas.microsoft.com/office/drawing/2014/main" id="{05A26897-A6BF-4423-828A-064516AA9154}"/>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7</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7" name="Picture 26">
              <a:extLst>
                <a:ext uri="{FF2B5EF4-FFF2-40B4-BE49-F238E27FC236}">
                  <a16:creationId xmlns:a16="http://schemas.microsoft.com/office/drawing/2014/main" id="{B02DFBA7-3FCC-4563-867A-BDFD2A3AE5B5}"/>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2899193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B0CA9F-2149-4B5B-A0CB-D5C745D5012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525" y="-148338"/>
            <a:ext cx="12192000" cy="6858000"/>
          </a:xfrm>
          <a:prstGeom prst="rect">
            <a:avLst/>
          </a:prstGeom>
        </p:spPr>
      </p:pic>
      <p:graphicFrame>
        <p:nvGraphicFramePr>
          <p:cNvPr id="5" name="Object 4" hidden="1">
            <a:extLst>
              <a:ext uri="{FF2B5EF4-FFF2-40B4-BE49-F238E27FC236}">
                <a16:creationId xmlns:a16="http://schemas.microsoft.com/office/drawing/2014/main" id="{2D3E49AC-6AB8-45E5-A63F-41B87C5D6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444" imgH="443" progId="TCLayout.ActiveDocument.1">
                  <p:embed/>
                </p:oleObj>
              </mc:Choice>
              <mc:Fallback>
                <p:oleObj name="think-cell Slide" r:id="rId6" imgW="444" imgH="443" progId="TCLayout.ActiveDocument.1">
                  <p:embed/>
                  <p:pic>
                    <p:nvPicPr>
                      <p:cNvPr id="5" name="Object 4" hidden="1">
                        <a:extLst>
                          <a:ext uri="{FF2B5EF4-FFF2-40B4-BE49-F238E27FC236}">
                            <a16:creationId xmlns:a16="http://schemas.microsoft.com/office/drawing/2014/main" id="{2D3E49AC-6AB8-45E5-A63F-41B87C5D67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DD10F7-66EC-463F-9134-85D66B35742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9" name="Group 8">
            <a:extLst>
              <a:ext uri="{FF2B5EF4-FFF2-40B4-BE49-F238E27FC236}">
                <a16:creationId xmlns:a16="http://schemas.microsoft.com/office/drawing/2014/main" id="{2CF149CD-DE5B-4ADE-BF08-56D7C31C8665}"/>
              </a:ext>
            </a:extLst>
          </p:cNvPr>
          <p:cNvGrpSpPr/>
          <p:nvPr/>
        </p:nvGrpSpPr>
        <p:grpSpPr>
          <a:xfrm>
            <a:off x="0" y="0"/>
            <a:ext cx="12192000" cy="6862338"/>
            <a:chOff x="0" y="0"/>
            <a:chExt cx="12192000" cy="6862338"/>
          </a:xfrm>
        </p:grpSpPr>
        <p:sp>
          <p:nvSpPr>
            <p:cNvPr id="10" name="Rectangle 9">
              <a:extLst>
                <a:ext uri="{FF2B5EF4-FFF2-40B4-BE49-F238E27FC236}">
                  <a16:creationId xmlns:a16="http://schemas.microsoft.com/office/drawing/2014/main" id="{191375F3-D195-4FBE-8E82-FA6AD7CFD4E2}"/>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ight Triangle 10">
              <a:extLst>
                <a:ext uri="{FF2B5EF4-FFF2-40B4-BE49-F238E27FC236}">
                  <a16:creationId xmlns:a16="http://schemas.microsoft.com/office/drawing/2014/main" id="{050F7ECB-4477-415C-8A78-D27223520564}"/>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53E88F81-9D9E-4DE2-9664-235D4065EB52}"/>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571670C-4191-4CC7-8C78-FE1DFB1124E9}"/>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14E9874-77DE-415F-A61A-C43194502245}"/>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Box 4">
              <a:extLst>
                <a:ext uri="{FF2B5EF4-FFF2-40B4-BE49-F238E27FC236}">
                  <a16:creationId xmlns:a16="http://schemas.microsoft.com/office/drawing/2014/main" id="{7660A409-2FF7-4353-8605-5B0140E675C2}"/>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7" name="Picture 16" descr="Logo, icon&#10;&#10;Description automatically generated">
              <a:extLst>
                <a:ext uri="{FF2B5EF4-FFF2-40B4-BE49-F238E27FC236}">
                  <a16:creationId xmlns:a16="http://schemas.microsoft.com/office/drawing/2014/main" id="{4DE20C99-0A3D-4A03-B4AA-8E231FCE41E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8" name="Right Triangle 17">
              <a:extLst>
                <a:ext uri="{FF2B5EF4-FFF2-40B4-BE49-F238E27FC236}">
                  <a16:creationId xmlns:a16="http://schemas.microsoft.com/office/drawing/2014/main" id="{8A24E155-2488-484A-B530-9326EA27C724}"/>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ight Triangle 18">
              <a:extLst>
                <a:ext uri="{FF2B5EF4-FFF2-40B4-BE49-F238E27FC236}">
                  <a16:creationId xmlns:a16="http://schemas.microsoft.com/office/drawing/2014/main" id="{7EFFDADB-E955-447C-ADF4-4048AA2B1F77}"/>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B25D2F85-D11D-4902-82C3-B2B4C9AEAFB6}"/>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Rectangle 24">
            <a:extLst>
              <a:ext uri="{FF2B5EF4-FFF2-40B4-BE49-F238E27FC236}">
                <a16:creationId xmlns:a16="http://schemas.microsoft.com/office/drawing/2014/main" id="{5B29D672-947E-4099-841A-24FD09F62F55}"/>
              </a:ext>
            </a:extLst>
          </p:cNvPr>
          <p:cNvSpPr/>
          <p:nvPr/>
        </p:nvSpPr>
        <p:spPr>
          <a:xfrm flipH="1">
            <a:off x="-1" y="4562424"/>
            <a:ext cx="64008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Single-deck FCEB operated in London from 2011</a:t>
            </a:r>
          </a:p>
        </p:txBody>
      </p:sp>
      <p:sp>
        <p:nvSpPr>
          <p:cNvPr id="26" name="Rectangle 25">
            <a:extLst>
              <a:ext uri="{FF2B5EF4-FFF2-40B4-BE49-F238E27FC236}">
                <a16:creationId xmlns:a16="http://schemas.microsoft.com/office/drawing/2014/main" id="{A2ABB471-C81B-4981-AA8B-F736049206CB}"/>
              </a:ext>
            </a:extLst>
          </p:cNvPr>
          <p:cNvSpPr/>
          <p:nvPr/>
        </p:nvSpPr>
        <p:spPr>
          <a:xfrm flipH="1">
            <a:off x="-1" y="5108071"/>
            <a:ext cx="64008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Over 2,000,000km travelled</a:t>
            </a:r>
          </a:p>
        </p:txBody>
      </p:sp>
      <p:sp>
        <p:nvSpPr>
          <p:cNvPr id="27" name="Rectangle 26">
            <a:extLst>
              <a:ext uri="{FF2B5EF4-FFF2-40B4-BE49-F238E27FC236}">
                <a16:creationId xmlns:a16="http://schemas.microsoft.com/office/drawing/2014/main" id="{967F28B1-C595-42C3-AAF7-F1CC7B66EDB1}"/>
              </a:ext>
            </a:extLst>
          </p:cNvPr>
          <p:cNvSpPr/>
          <p:nvPr/>
        </p:nvSpPr>
        <p:spPr>
          <a:xfrm flipH="1">
            <a:off x="-1" y="5653718"/>
            <a:ext cx="64008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b="1" dirty="0">
                <a:solidFill>
                  <a:schemeClr val="bg1"/>
                </a:solidFill>
                <a:latin typeface="Tahoma" panose="020B0604030504040204" pitchFamily="34" charset="0"/>
                <a:ea typeface="Tahoma" panose="020B0604030504040204" pitchFamily="34" charset="0"/>
                <a:cs typeface="Tahoma" panose="020B0604030504040204" pitchFamily="34" charset="0"/>
              </a:rPr>
              <a:t>Fuel cell module lasting over 35,000 hours</a:t>
            </a:r>
          </a:p>
        </p:txBody>
      </p:sp>
      <p:grpSp>
        <p:nvGrpSpPr>
          <p:cNvPr id="28" name="Group 27">
            <a:extLst>
              <a:ext uri="{FF2B5EF4-FFF2-40B4-BE49-F238E27FC236}">
                <a16:creationId xmlns:a16="http://schemas.microsoft.com/office/drawing/2014/main" id="{F5B55D7C-2C57-4B23-8A9E-9C5B88F997F3}"/>
              </a:ext>
            </a:extLst>
          </p:cNvPr>
          <p:cNvGrpSpPr/>
          <p:nvPr/>
        </p:nvGrpSpPr>
        <p:grpSpPr>
          <a:xfrm>
            <a:off x="0" y="-2"/>
            <a:ext cx="12182475" cy="1085190"/>
            <a:chOff x="0" y="-2"/>
            <a:chExt cx="12182475" cy="1085190"/>
          </a:xfrm>
        </p:grpSpPr>
        <p:sp>
          <p:nvSpPr>
            <p:cNvPr id="29" name="Rectangle 28">
              <a:extLst>
                <a:ext uri="{FF2B5EF4-FFF2-40B4-BE49-F238E27FC236}">
                  <a16:creationId xmlns:a16="http://schemas.microsoft.com/office/drawing/2014/main" id="{0F7085E8-4E52-4764-AF1A-41E5F96C2776}"/>
                </a:ext>
              </a:extLst>
            </p:cNvPr>
            <p:cNvSpPr/>
            <p:nvPr/>
          </p:nvSpPr>
          <p:spPr>
            <a:xfrm>
              <a:off x="0" y="-2"/>
              <a:ext cx="11113424" cy="108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itle 1">
              <a:extLst>
                <a:ext uri="{FF2B5EF4-FFF2-40B4-BE49-F238E27FC236}">
                  <a16:creationId xmlns:a16="http://schemas.microsoft.com/office/drawing/2014/main" id="{B6FF264E-0843-449A-9894-22272550BB08}"/>
                </a:ext>
              </a:extLst>
            </p:cNvPr>
            <p:cNvSpPr txBox="1">
              <a:spLocks/>
            </p:cNvSpPr>
            <p:nvPr/>
          </p:nvSpPr>
          <p:spPr>
            <a:xfrm>
              <a:off x="1175049" y="5188"/>
              <a:ext cx="9841902" cy="1080000"/>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algn="ctr"/>
              <a:r>
                <a:rPr lang="en-GB" sz="4000" dirty="0">
                  <a:solidFill>
                    <a:schemeClr val="bg1"/>
                  </a:solidFill>
                  <a:latin typeface="Tahoma" panose="020B0604030504040204" pitchFamily="34" charset="0"/>
                  <a:ea typeface="Tahoma" panose="020B0604030504040204" pitchFamily="34" charset="0"/>
                  <a:cs typeface="Tahoma" panose="020B0604030504040204" pitchFamily="34" charset="0"/>
                </a:rPr>
                <a:t>Fuel-cell Electric Bus Experience</a:t>
              </a:r>
              <a:endParaRPr lang="en-US"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ight Triangle 30">
              <a:extLst>
                <a:ext uri="{FF2B5EF4-FFF2-40B4-BE49-F238E27FC236}">
                  <a16:creationId xmlns:a16="http://schemas.microsoft.com/office/drawing/2014/main" id="{610432B6-1BF9-4DCA-AC2B-C22E5A4C5D2D}"/>
                </a:ext>
              </a:extLst>
            </p:cNvPr>
            <p:cNvSpPr/>
            <p:nvPr/>
          </p:nvSpPr>
          <p:spPr>
            <a:xfrm flipV="1">
              <a:off x="11103900" y="0"/>
              <a:ext cx="1078575" cy="1079998"/>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ight Triangle 31">
              <a:extLst>
                <a:ext uri="{FF2B5EF4-FFF2-40B4-BE49-F238E27FC236}">
                  <a16:creationId xmlns:a16="http://schemas.microsoft.com/office/drawing/2014/main" id="{9CD92198-965C-43AF-9C3A-038BB9CF5039}"/>
                </a:ext>
              </a:extLst>
            </p:cNvPr>
            <p:cNvSpPr/>
            <p:nvPr/>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 name="Subtitle 2">
            <a:extLst>
              <a:ext uri="{FF2B5EF4-FFF2-40B4-BE49-F238E27FC236}">
                <a16:creationId xmlns:a16="http://schemas.microsoft.com/office/drawing/2014/main" id="{1EEE5D34-2FA4-400F-BC83-07D283A0B020}"/>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8</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21AC5886-0BBC-4146-A394-B43C754D0837}"/>
              </a:ext>
            </a:extLst>
          </p:cNvPr>
          <p:cNvGrpSpPr/>
          <p:nvPr/>
        </p:nvGrpSpPr>
        <p:grpSpPr>
          <a:xfrm>
            <a:off x="0" y="0"/>
            <a:ext cx="12751007" cy="6886993"/>
            <a:chOff x="0" y="0"/>
            <a:chExt cx="12751007" cy="6886993"/>
          </a:xfrm>
        </p:grpSpPr>
        <p:grpSp>
          <p:nvGrpSpPr>
            <p:cNvPr id="34" name="Group 33">
              <a:extLst>
                <a:ext uri="{FF2B5EF4-FFF2-40B4-BE49-F238E27FC236}">
                  <a16:creationId xmlns:a16="http://schemas.microsoft.com/office/drawing/2014/main" id="{FE6ADE58-AB86-4019-9C4D-D8821D7B62B3}"/>
                </a:ext>
              </a:extLst>
            </p:cNvPr>
            <p:cNvGrpSpPr/>
            <p:nvPr/>
          </p:nvGrpSpPr>
          <p:grpSpPr>
            <a:xfrm>
              <a:off x="0" y="0"/>
              <a:ext cx="12751007" cy="6886993"/>
              <a:chOff x="0" y="0"/>
              <a:chExt cx="12751007" cy="6886993"/>
            </a:xfrm>
          </p:grpSpPr>
          <p:sp>
            <p:nvSpPr>
              <p:cNvPr id="37" name="Rectangle 36">
                <a:extLst>
                  <a:ext uri="{FF2B5EF4-FFF2-40B4-BE49-F238E27FC236}">
                    <a16:creationId xmlns:a16="http://schemas.microsoft.com/office/drawing/2014/main" id="{35CA42F1-ABA4-410C-B3CB-982B1EF1B6E4}"/>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ight Triangle 37">
                <a:extLst>
                  <a:ext uri="{FF2B5EF4-FFF2-40B4-BE49-F238E27FC236}">
                    <a16:creationId xmlns:a16="http://schemas.microsoft.com/office/drawing/2014/main" id="{C901E1D2-D649-45AF-8CD9-837385C635AC}"/>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ight Triangle 39">
                <a:extLst>
                  <a:ext uri="{FF2B5EF4-FFF2-40B4-BE49-F238E27FC236}">
                    <a16:creationId xmlns:a16="http://schemas.microsoft.com/office/drawing/2014/main" id="{DAE7BE77-7B27-49DD-A7FC-5B78951E2560}"/>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52946D8B-DF4B-4043-867B-86DD3B1BBDF5}"/>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39AD01C2-1796-46B1-892A-16D99B5BC8D4}"/>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ight Triangle 42">
                <a:extLst>
                  <a:ext uri="{FF2B5EF4-FFF2-40B4-BE49-F238E27FC236}">
                    <a16:creationId xmlns:a16="http://schemas.microsoft.com/office/drawing/2014/main" id="{5C9ECD37-D90E-4400-B264-657DDF49CF4B}"/>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ight Triangle 43">
                <a:extLst>
                  <a:ext uri="{FF2B5EF4-FFF2-40B4-BE49-F238E27FC236}">
                    <a16:creationId xmlns:a16="http://schemas.microsoft.com/office/drawing/2014/main" id="{7EB63076-83C8-4AD5-A8AE-B7B22F7F9B8D}"/>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ight Triangle 44">
                <a:extLst>
                  <a:ext uri="{FF2B5EF4-FFF2-40B4-BE49-F238E27FC236}">
                    <a16:creationId xmlns:a16="http://schemas.microsoft.com/office/drawing/2014/main" id="{C9FF0A4C-26AB-4615-BE22-C58ECC053C2B}"/>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ext Box 4">
                <a:extLst>
                  <a:ext uri="{FF2B5EF4-FFF2-40B4-BE49-F238E27FC236}">
                    <a16:creationId xmlns:a16="http://schemas.microsoft.com/office/drawing/2014/main" id="{677B5535-B806-468B-81B3-6915526179FF}"/>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35" name="Subtitle 2">
              <a:extLst>
                <a:ext uri="{FF2B5EF4-FFF2-40B4-BE49-F238E27FC236}">
                  <a16:creationId xmlns:a16="http://schemas.microsoft.com/office/drawing/2014/main" id="{2B294C86-9214-442B-B939-EBA405AE69DE}"/>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8</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6" name="Picture 35">
              <a:extLst>
                <a:ext uri="{FF2B5EF4-FFF2-40B4-BE49-F238E27FC236}">
                  <a16:creationId xmlns:a16="http://schemas.microsoft.com/office/drawing/2014/main" id="{6D8D5D91-9DEF-4187-9BDD-351B878618FB}"/>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spTree>
    <p:extLst>
      <p:ext uri="{BB962C8B-B14F-4D97-AF65-F5344CB8AC3E}">
        <p14:creationId xmlns:p14="http://schemas.microsoft.com/office/powerpoint/2010/main" val="2172033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EC6AD72F-7339-4AA0-95EF-8B8BE80D68EE}"/>
              </a:ext>
            </a:extLst>
          </p:cNvPr>
          <p:cNvPicPr>
            <a:picLocks noChangeAspect="1"/>
          </p:cNvPicPr>
          <p:nvPr/>
        </p:nvPicPr>
        <p:blipFill rotWithShape="1">
          <a:blip r:embed="rId5">
            <a:alphaModFix amt="15000"/>
            <a:extLst>
              <a:ext uri="{28A0092B-C50C-407E-A947-70E740481C1C}">
                <a14:useLocalDpi xmlns:a14="http://schemas.microsoft.com/office/drawing/2010/main" val="0"/>
              </a:ext>
            </a:extLst>
          </a:blip>
          <a:srcRect t="-1" b="9727"/>
          <a:stretch/>
        </p:blipFill>
        <p:spPr>
          <a:xfrm>
            <a:off x="-1" y="-239717"/>
            <a:ext cx="12192000" cy="7337434"/>
          </a:xfrm>
          <a:prstGeom prst="rect">
            <a:avLst/>
          </a:prstGeom>
        </p:spPr>
      </p:pic>
      <p:graphicFrame>
        <p:nvGraphicFramePr>
          <p:cNvPr id="5" name="Object 4" hidden="1">
            <a:extLst>
              <a:ext uri="{FF2B5EF4-FFF2-40B4-BE49-F238E27FC236}">
                <a16:creationId xmlns:a16="http://schemas.microsoft.com/office/drawing/2014/main" id="{2D3E49AC-6AB8-45E5-A63F-41B87C5D67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444" imgH="443" progId="TCLayout.ActiveDocument.1">
                  <p:embed/>
                </p:oleObj>
              </mc:Choice>
              <mc:Fallback>
                <p:oleObj name="think-cell Slide" r:id="rId6" imgW="444" imgH="443" progId="TCLayout.ActiveDocument.1">
                  <p:embed/>
                  <p:pic>
                    <p:nvPicPr>
                      <p:cNvPr id="5" name="Object 4" hidden="1">
                        <a:extLst>
                          <a:ext uri="{FF2B5EF4-FFF2-40B4-BE49-F238E27FC236}">
                            <a16:creationId xmlns:a16="http://schemas.microsoft.com/office/drawing/2014/main" id="{2D3E49AC-6AB8-45E5-A63F-41B87C5D67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DD10F7-66EC-463F-9134-85D66B35742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9" name="Group 8">
            <a:extLst>
              <a:ext uri="{FF2B5EF4-FFF2-40B4-BE49-F238E27FC236}">
                <a16:creationId xmlns:a16="http://schemas.microsoft.com/office/drawing/2014/main" id="{2CF149CD-DE5B-4ADE-BF08-56D7C31C8665}"/>
              </a:ext>
            </a:extLst>
          </p:cNvPr>
          <p:cNvGrpSpPr/>
          <p:nvPr/>
        </p:nvGrpSpPr>
        <p:grpSpPr>
          <a:xfrm>
            <a:off x="0" y="0"/>
            <a:ext cx="12192000" cy="6862338"/>
            <a:chOff x="0" y="0"/>
            <a:chExt cx="12192000" cy="6862338"/>
          </a:xfrm>
        </p:grpSpPr>
        <p:sp>
          <p:nvSpPr>
            <p:cNvPr id="10" name="Rectangle 9">
              <a:extLst>
                <a:ext uri="{FF2B5EF4-FFF2-40B4-BE49-F238E27FC236}">
                  <a16:creationId xmlns:a16="http://schemas.microsoft.com/office/drawing/2014/main" id="{191375F3-D195-4FBE-8E82-FA6AD7CFD4E2}"/>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ight Triangle 10">
              <a:extLst>
                <a:ext uri="{FF2B5EF4-FFF2-40B4-BE49-F238E27FC236}">
                  <a16:creationId xmlns:a16="http://schemas.microsoft.com/office/drawing/2014/main" id="{050F7ECB-4477-415C-8A78-D27223520564}"/>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ght Triangle 12">
              <a:extLst>
                <a:ext uri="{FF2B5EF4-FFF2-40B4-BE49-F238E27FC236}">
                  <a16:creationId xmlns:a16="http://schemas.microsoft.com/office/drawing/2014/main" id="{53E88F81-9D9E-4DE2-9664-235D4065EB52}"/>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571670C-4191-4CC7-8C78-FE1DFB1124E9}"/>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14E9874-77DE-415F-A61A-C43194502245}"/>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 Box 4">
              <a:extLst>
                <a:ext uri="{FF2B5EF4-FFF2-40B4-BE49-F238E27FC236}">
                  <a16:creationId xmlns:a16="http://schemas.microsoft.com/office/drawing/2014/main" id="{7660A409-2FF7-4353-8605-5B0140E675C2}"/>
                </a:ext>
              </a:extLst>
            </p:cNvPr>
            <p:cNvSpPr txBox="1">
              <a:spLocks noChangeArrowheads="1"/>
            </p:cNvSpPr>
            <p:nvPr userDrawn="1"/>
          </p:nvSpPr>
          <p:spPr bwMode="auto">
            <a:xfrm flipV="1">
              <a:off x="10781682" y="6609582"/>
              <a:ext cx="1296000" cy="22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a:t>
              </a:r>
              <a:b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b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VAT Registration no: GB 333 9869 60</a:t>
              </a:r>
            </a:p>
          </p:txBody>
        </p:sp>
        <p:pic>
          <p:nvPicPr>
            <p:cNvPr id="17" name="Picture 16" descr="Logo, icon&#10;&#10;Description automatically generated">
              <a:extLst>
                <a:ext uri="{FF2B5EF4-FFF2-40B4-BE49-F238E27FC236}">
                  <a16:creationId xmlns:a16="http://schemas.microsoft.com/office/drawing/2014/main" id="{4DE20C99-0A3D-4A03-B4AA-8E231FCE41E6}"/>
                </a:ext>
              </a:extLst>
            </p:cNvPr>
            <p:cNvPicPr>
              <a:picLocks noChangeAspect="1"/>
            </p:cNvPicPr>
            <p:nvPr userDrawn="1"/>
          </p:nvPicPr>
          <p:blipFill rotWithShape="1">
            <a:blip r:embed="rId8">
              <a:extLst>
                <a:ext uri="{BEBA8EAE-BF5A-486C-A8C5-ECC9F3942E4B}">
                  <a14:imgProps xmlns:a14="http://schemas.microsoft.com/office/drawing/2010/main">
                    <a14:imgLayer r:embed="rId9">
                      <a14:imgEffect>
                        <a14:backgroundRemoval t="9408" b="89199" l="2342" r="90984">
                          <a14:foregroundMark x1="11007" y1="21254" x2="11007" y2="21254"/>
                          <a14:foregroundMark x1="5855" y1="18118" x2="5855" y2="18118"/>
                          <a14:foregroundMark x1="38759" y1="50523" x2="38759" y2="50523"/>
                          <a14:foregroundMark x1="10656" y1="35192" x2="10656" y2="35192"/>
                          <a14:foregroundMark x1="11593" y1="35889" x2="11593" y2="35889"/>
                          <a14:foregroundMark x1="12178" y1="38328" x2="13232" y2="41463"/>
                          <a14:foregroundMark x1="13232" y1="42509" x2="22717" y2="53310"/>
                          <a14:foregroundMark x1="23888" y1="52613" x2="40047" y2="53659"/>
                          <a14:foregroundMark x1="40515" y1="53310" x2="33958" y2="33798"/>
                          <a14:foregroundMark x1="34660" y1="34843" x2="38759" y2="44251"/>
                          <a14:foregroundMark x1="2342" y1="13589" x2="3396" y2="14983"/>
                          <a14:foregroundMark x1="57963" y1="44948" x2="62881" y2="34495"/>
                          <a14:foregroundMark x1="58899" y1="43206" x2="62998" y2="32753"/>
                          <a14:foregroundMark x1="61124" y1="34495" x2="57845" y2="44251"/>
                          <a14:foregroundMark x1="62061" y1="31707" x2="61124" y2="34495"/>
                          <a14:foregroundMark x1="62178" y1="31359" x2="62061" y2="31707"/>
                          <a14:foregroundMark x1="47775" y1="54355" x2="47775" y2="54355"/>
                          <a14:foregroundMark x1="49297" y1="54704" x2="49297" y2="54704"/>
                          <a14:foregroundMark x1="50351" y1="51568" x2="50351" y2="51568"/>
                          <a14:foregroundMark x1="51405" y1="49129" x2="51405" y2="49129"/>
                          <a14:foregroundMark x1="41686" y1="41115" x2="41686" y2="41115"/>
                          <a14:foregroundMark x1="65457" y1="54007" x2="65457" y2="54007"/>
                          <a14:foregroundMark x1="80913" y1="47038" x2="80913" y2="47038"/>
                          <a14:foregroundMark x1="85714" y1="34495" x2="80679" y2="43554"/>
                          <a14:foregroundMark x1="81265" y1="44948" x2="83724" y2="33449"/>
                          <a14:foregroundMark x1="80562" y1="48432" x2="85012" y2="37282"/>
                          <a14:foregroundMark x1="90984" y1="17073" x2="90984" y2="17073"/>
                          <a14:foregroundMark x1="25527" y1="76655" x2="25527" y2="76655"/>
                          <a14:foregroundMark x1="37354" y1="80836" x2="37354" y2="80836"/>
                          <a14:foregroundMark x1="47775" y1="84669" x2="47775" y2="84669"/>
                          <a14:foregroundMark x1="52693" y1="83275" x2="52693" y2="83275"/>
                          <a14:foregroundMark x1="62763" y1="81882" x2="62763" y2="81882"/>
                          <a14:foregroundMark x1="76347" y1="78746" x2="76347" y2="78746"/>
                          <a14:foregroundMark x1="44262" y1="45993" x2="44262" y2="45993"/>
                          <a14:foregroundMark x1="44262" y1="47038" x2="44262" y2="47038"/>
                          <a14:foregroundMark x1="44848" y1="49477" x2="44848" y2="49477"/>
                          <a14:foregroundMark x1="52108" y1="46690" x2="52108" y2="46690"/>
                          <a14:foregroundMark x1="52810" y1="44251" x2="54567" y2="38328"/>
                          <a14:foregroundMark x1="43326" y1="44251" x2="43326" y2="44251"/>
                          <a14:foregroundMark x1="54098" y1="41812" x2="54098" y2="41812"/>
                          <a14:foregroundMark x1="54918" y1="39024" x2="54918" y2="39024"/>
                          <a14:foregroundMark x1="55504" y1="37631" x2="55504" y2="37631"/>
                          <a14:foregroundMark x1="54684" y1="39721" x2="54684" y2="39721"/>
                          <a14:foregroundMark x1="13583" y1="42857" x2="14286" y2="44251"/>
                          <a14:foregroundMark x1="13700" y1="43902" x2="15222" y2="47387"/>
                          <a14:foregroundMark x1="16159" y1="50871" x2="18852" y2="53310"/>
                          <a14:foregroundMark x1="42037" y1="41115" x2="44496" y2="47387"/>
                          <a14:backgroundMark x1="39227" y1="36585" x2="39227" y2="36585"/>
                          <a14:backgroundMark x1="37237" y1="34495" x2="37237" y2="34495"/>
                          <a14:backgroundMark x1="38525" y1="38328" x2="38525" y2="38328"/>
                          <a14:backgroundMark x1="53630" y1="49129" x2="53630" y2="49129"/>
                          <a14:backgroundMark x1="54215" y1="47735" x2="54215" y2="47735"/>
                          <a14:backgroundMark x1="54918" y1="42857" x2="54918" y2="42857"/>
                          <a14:backgroundMark x1="61475" y1="27526" x2="61475" y2="27526"/>
                          <a14:backgroundMark x1="60070" y1="31707" x2="60070" y2="31707"/>
                          <a14:backgroundMark x1="59133" y1="34495" x2="59133" y2="34495"/>
                          <a14:backgroundMark x1="55504" y1="43554" x2="55504" y2="43554"/>
                          <a14:backgroundMark x1="57494" y1="39024" x2="57494" y2="39024"/>
                          <a14:backgroundMark x1="40958" y1="43884" x2="38525" y2="37282"/>
                        </a14:backgroundRemoval>
                      </a14:imgEffect>
                    </a14:imgLayer>
                  </a14:imgProps>
                </a:ext>
                <a:ext uri="{28A0092B-C50C-407E-A947-70E740481C1C}">
                  <a14:useLocalDpi xmlns:a14="http://schemas.microsoft.com/office/drawing/2010/main" val="0"/>
                </a:ext>
              </a:extLst>
            </a:blip>
            <a:srcRect r="4927"/>
            <a:stretch/>
          </p:blipFill>
          <p:spPr>
            <a:xfrm>
              <a:off x="10694259" y="6056669"/>
              <a:ext cx="1470847" cy="519918"/>
            </a:xfrm>
            <a:prstGeom prst="rect">
              <a:avLst/>
            </a:prstGeom>
            <a:effectLst>
              <a:outerShdw blurRad="25400" sx="102000" sy="102000" algn="ctr" rotWithShape="0">
                <a:prstClr val="black">
                  <a:alpha val="40000"/>
                </a:prstClr>
              </a:outerShdw>
            </a:effectLst>
          </p:spPr>
        </p:pic>
        <p:sp>
          <p:nvSpPr>
            <p:cNvPr id="18" name="Right Triangle 17">
              <a:extLst>
                <a:ext uri="{FF2B5EF4-FFF2-40B4-BE49-F238E27FC236}">
                  <a16:creationId xmlns:a16="http://schemas.microsoft.com/office/drawing/2014/main" id="{8A24E155-2488-484A-B530-9326EA27C724}"/>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ight Triangle 18">
              <a:extLst>
                <a:ext uri="{FF2B5EF4-FFF2-40B4-BE49-F238E27FC236}">
                  <a16:creationId xmlns:a16="http://schemas.microsoft.com/office/drawing/2014/main" id="{7EFFDADB-E955-447C-ADF4-4048AA2B1F77}"/>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Triangle 19">
              <a:extLst>
                <a:ext uri="{FF2B5EF4-FFF2-40B4-BE49-F238E27FC236}">
                  <a16:creationId xmlns:a16="http://schemas.microsoft.com/office/drawing/2014/main" id="{B25D2F85-D11D-4902-82C3-B2B4C9AEAFB6}"/>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8" name="Group 27">
            <a:extLst>
              <a:ext uri="{FF2B5EF4-FFF2-40B4-BE49-F238E27FC236}">
                <a16:creationId xmlns:a16="http://schemas.microsoft.com/office/drawing/2014/main" id="{F5B55D7C-2C57-4B23-8A9E-9C5B88F997F3}"/>
              </a:ext>
            </a:extLst>
          </p:cNvPr>
          <p:cNvGrpSpPr/>
          <p:nvPr/>
        </p:nvGrpSpPr>
        <p:grpSpPr>
          <a:xfrm>
            <a:off x="0" y="-2"/>
            <a:ext cx="12182475" cy="1085190"/>
            <a:chOff x="0" y="-2"/>
            <a:chExt cx="12182475" cy="1085190"/>
          </a:xfrm>
        </p:grpSpPr>
        <p:sp>
          <p:nvSpPr>
            <p:cNvPr id="29" name="Rectangle 28">
              <a:extLst>
                <a:ext uri="{FF2B5EF4-FFF2-40B4-BE49-F238E27FC236}">
                  <a16:creationId xmlns:a16="http://schemas.microsoft.com/office/drawing/2014/main" id="{0F7085E8-4E52-4764-AF1A-41E5F96C2776}"/>
                </a:ext>
              </a:extLst>
            </p:cNvPr>
            <p:cNvSpPr/>
            <p:nvPr/>
          </p:nvSpPr>
          <p:spPr>
            <a:xfrm>
              <a:off x="0" y="-2"/>
              <a:ext cx="11113424" cy="1080000"/>
            </a:xfrm>
            <a:prstGeom prst="rect">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itle 1">
              <a:extLst>
                <a:ext uri="{FF2B5EF4-FFF2-40B4-BE49-F238E27FC236}">
                  <a16:creationId xmlns:a16="http://schemas.microsoft.com/office/drawing/2014/main" id="{B6FF264E-0843-449A-9894-22272550BB08}"/>
                </a:ext>
              </a:extLst>
            </p:cNvPr>
            <p:cNvSpPr txBox="1">
              <a:spLocks/>
            </p:cNvSpPr>
            <p:nvPr/>
          </p:nvSpPr>
          <p:spPr>
            <a:xfrm>
              <a:off x="1175049" y="5188"/>
              <a:ext cx="9841902" cy="1080000"/>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pPr algn="ctr"/>
              <a:r>
                <a:rPr lang="en-GB" sz="4000" dirty="0">
                  <a:solidFill>
                    <a:schemeClr val="bg1"/>
                  </a:solidFill>
                  <a:latin typeface="Tahoma" panose="020B0604030504040204" pitchFamily="34" charset="0"/>
                  <a:ea typeface="Tahoma" panose="020B0604030504040204" pitchFamily="34" charset="0"/>
                  <a:cs typeface="Tahoma" panose="020B0604030504040204" pitchFamily="34" charset="0"/>
                </a:rPr>
                <a:t>Customer Advisory Tools</a:t>
              </a:r>
              <a:endParaRPr lang="en-US" sz="40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ight Triangle 30">
              <a:extLst>
                <a:ext uri="{FF2B5EF4-FFF2-40B4-BE49-F238E27FC236}">
                  <a16:creationId xmlns:a16="http://schemas.microsoft.com/office/drawing/2014/main" id="{610432B6-1BF9-4DCA-AC2B-C22E5A4C5D2D}"/>
                </a:ext>
              </a:extLst>
            </p:cNvPr>
            <p:cNvSpPr/>
            <p:nvPr/>
          </p:nvSpPr>
          <p:spPr>
            <a:xfrm flipV="1">
              <a:off x="11103900" y="0"/>
              <a:ext cx="1078575" cy="1079998"/>
            </a:xfrm>
            <a:prstGeom prst="rtTriangle">
              <a:avLst/>
            </a:prstGeom>
            <a:solidFill>
              <a:srgbClr val="555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ight Triangle 31">
              <a:extLst>
                <a:ext uri="{FF2B5EF4-FFF2-40B4-BE49-F238E27FC236}">
                  <a16:creationId xmlns:a16="http://schemas.microsoft.com/office/drawing/2014/main" id="{9CD92198-965C-43AF-9C3A-038BB9CF5039}"/>
                </a:ext>
              </a:extLst>
            </p:cNvPr>
            <p:cNvSpPr/>
            <p:nvPr/>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 name="Subtitle 2">
            <a:extLst>
              <a:ext uri="{FF2B5EF4-FFF2-40B4-BE49-F238E27FC236}">
                <a16:creationId xmlns:a16="http://schemas.microsoft.com/office/drawing/2014/main" id="{1EEE5D34-2FA4-400F-BC83-07D283A0B020}"/>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9</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21AC5886-0BBC-4146-A394-B43C754D0837}"/>
              </a:ext>
            </a:extLst>
          </p:cNvPr>
          <p:cNvGrpSpPr/>
          <p:nvPr/>
        </p:nvGrpSpPr>
        <p:grpSpPr>
          <a:xfrm>
            <a:off x="0" y="0"/>
            <a:ext cx="12751007" cy="6886993"/>
            <a:chOff x="0" y="0"/>
            <a:chExt cx="12751007" cy="6886993"/>
          </a:xfrm>
        </p:grpSpPr>
        <p:grpSp>
          <p:nvGrpSpPr>
            <p:cNvPr id="34" name="Group 33">
              <a:extLst>
                <a:ext uri="{FF2B5EF4-FFF2-40B4-BE49-F238E27FC236}">
                  <a16:creationId xmlns:a16="http://schemas.microsoft.com/office/drawing/2014/main" id="{FE6ADE58-AB86-4019-9C4D-D8821D7B62B3}"/>
                </a:ext>
              </a:extLst>
            </p:cNvPr>
            <p:cNvGrpSpPr/>
            <p:nvPr/>
          </p:nvGrpSpPr>
          <p:grpSpPr>
            <a:xfrm>
              <a:off x="0" y="0"/>
              <a:ext cx="12751007" cy="6886993"/>
              <a:chOff x="0" y="0"/>
              <a:chExt cx="12751007" cy="6886993"/>
            </a:xfrm>
          </p:grpSpPr>
          <p:sp>
            <p:nvSpPr>
              <p:cNvPr id="37" name="Rectangle 36">
                <a:extLst>
                  <a:ext uri="{FF2B5EF4-FFF2-40B4-BE49-F238E27FC236}">
                    <a16:creationId xmlns:a16="http://schemas.microsoft.com/office/drawing/2014/main" id="{35CA42F1-ABA4-410C-B3CB-982B1EF1B6E4}"/>
                  </a:ext>
                </a:extLst>
              </p:cNvPr>
              <p:cNvSpPr/>
              <p:nvPr userDrawn="1"/>
            </p:nvSpPr>
            <p:spPr>
              <a:xfrm>
                <a:off x="10667365" y="5886000"/>
                <a:ext cx="1524635" cy="972000"/>
              </a:xfrm>
              <a:prstGeom prst="rect">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ight Triangle 37">
                <a:extLst>
                  <a:ext uri="{FF2B5EF4-FFF2-40B4-BE49-F238E27FC236}">
                    <a16:creationId xmlns:a16="http://schemas.microsoft.com/office/drawing/2014/main" id="{C901E1D2-D649-45AF-8CD9-837385C635AC}"/>
                  </a:ext>
                </a:extLst>
              </p:cNvPr>
              <p:cNvSpPr/>
              <p:nvPr userDrawn="1"/>
            </p:nvSpPr>
            <p:spPr>
              <a:xfrm flipH="1">
                <a:off x="9410347" y="5886000"/>
                <a:ext cx="1260000" cy="972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ight Triangle 39">
                <a:extLst>
                  <a:ext uri="{FF2B5EF4-FFF2-40B4-BE49-F238E27FC236}">
                    <a16:creationId xmlns:a16="http://schemas.microsoft.com/office/drawing/2014/main" id="{DAE7BE77-7B27-49DD-A7FC-5B78951E2560}"/>
                  </a:ext>
                </a:extLst>
              </p:cNvPr>
              <p:cNvSpPr/>
              <p:nvPr userDrawn="1"/>
            </p:nvSpPr>
            <p:spPr>
              <a:xfrm>
                <a:off x="0" y="5832000"/>
                <a:ext cx="1260000" cy="1026000"/>
              </a:xfrm>
              <a:prstGeom prst="rtTriangle">
                <a:avLst/>
              </a:prstGeom>
              <a:solidFill>
                <a:srgbClr val="B0B5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52946D8B-DF4B-4043-867B-86DD3B1BBDF5}"/>
                  </a:ext>
                </a:extLst>
              </p:cNvPr>
              <p:cNvSpPr/>
              <p:nvPr userDrawn="1"/>
            </p:nvSpPr>
            <p:spPr>
              <a:xfrm>
                <a:off x="0" y="6714000"/>
                <a:ext cx="9925050" cy="144000"/>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39AD01C2-1796-46B1-892A-16D99B5BC8D4}"/>
                  </a:ext>
                </a:extLst>
              </p:cNvPr>
              <p:cNvSpPr/>
              <p:nvPr userDrawn="1"/>
            </p:nvSpPr>
            <p:spPr>
              <a:xfrm>
                <a:off x="10667365" y="6013719"/>
                <a:ext cx="1524635" cy="844281"/>
              </a:xfrm>
              <a:prstGeom prst="rect">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ight Triangle 42">
                <a:extLst>
                  <a:ext uri="{FF2B5EF4-FFF2-40B4-BE49-F238E27FC236}">
                    <a16:creationId xmlns:a16="http://schemas.microsoft.com/office/drawing/2014/main" id="{5C9ECD37-D90E-4400-B264-657DDF49CF4B}"/>
                  </a:ext>
                </a:extLst>
              </p:cNvPr>
              <p:cNvSpPr/>
              <p:nvPr userDrawn="1"/>
            </p:nvSpPr>
            <p:spPr>
              <a:xfrm flipH="1">
                <a:off x="9587364" y="6018056"/>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ight Triangle 43">
                <a:extLst>
                  <a:ext uri="{FF2B5EF4-FFF2-40B4-BE49-F238E27FC236}">
                    <a16:creationId xmlns:a16="http://schemas.microsoft.com/office/drawing/2014/main" id="{7EB63076-83C8-4AD5-A8AE-B7B22F7F9B8D}"/>
                  </a:ext>
                </a:extLst>
              </p:cNvPr>
              <p:cNvSpPr/>
              <p:nvPr userDrawn="1"/>
            </p:nvSpPr>
            <p:spPr>
              <a:xfrm>
                <a:off x="0" y="6013718"/>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ight Triangle 44">
                <a:extLst>
                  <a:ext uri="{FF2B5EF4-FFF2-40B4-BE49-F238E27FC236}">
                    <a16:creationId xmlns:a16="http://schemas.microsoft.com/office/drawing/2014/main" id="{C9FF0A4C-26AB-4615-BE22-C58ECC053C2B}"/>
                  </a:ext>
                </a:extLst>
              </p:cNvPr>
              <p:cNvSpPr/>
              <p:nvPr userDrawn="1"/>
            </p:nvSpPr>
            <p:spPr>
              <a:xfrm flipV="1">
                <a:off x="0" y="0"/>
                <a:ext cx="1080000" cy="844282"/>
              </a:xfrm>
              <a:prstGeom prst="rtTriangle">
                <a:avLst/>
              </a:prstGeom>
              <a:solidFill>
                <a:srgbClr val="CD2C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ext Box 4">
                <a:extLst>
                  <a:ext uri="{FF2B5EF4-FFF2-40B4-BE49-F238E27FC236}">
                    <a16:creationId xmlns:a16="http://schemas.microsoft.com/office/drawing/2014/main" id="{677B5535-B806-468B-81B3-6915526179FF}"/>
                  </a:ext>
                </a:extLst>
              </p:cNvPr>
              <p:cNvSpPr txBox="1">
                <a:spLocks noChangeArrowheads="1"/>
              </p:cNvSpPr>
              <p:nvPr userDrawn="1"/>
            </p:nvSpPr>
            <p:spPr bwMode="auto">
              <a:xfrm flipV="1">
                <a:off x="9410347" y="6743524"/>
                <a:ext cx="3340660" cy="14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lgn="ctr">
                  <a:lnSpc>
                    <a:spcPct val="100000"/>
                  </a:lnSpc>
                  <a:spcAft>
                    <a:spcPts val="1000"/>
                  </a:spcAft>
                </a:pPr>
                <a:r>
                  <a:rPr lang="en-GB" sz="600" dirty="0">
                    <a:solidFill>
                      <a:schemeClr val="bg1"/>
                    </a:solidFill>
                    <a:effectLst/>
                    <a:latin typeface="Tahoma" panose="020B0604030504040204" pitchFamily="34" charset="0"/>
                    <a:ea typeface="Tahoma" panose="020B0604030504040204" pitchFamily="34" charset="0"/>
                    <a:cs typeface="Tahoma" panose="020B0604030504040204" pitchFamily="34" charset="0"/>
                  </a:rPr>
                  <a:t>Company Registration no: 12214576 | VAT no: GB 333 9869 60</a:t>
                </a:r>
              </a:p>
            </p:txBody>
          </p:sp>
        </p:grpSp>
        <p:sp>
          <p:nvSpPr>
            <p:cNvPr id="35" name="Subtitle 2">
              <a:extLst>
                <a:ext uri="{FF2B5EF4-FFF2-40B4-BE49-F238E27FC236}">
                  <a16:creationId xmlns:a16="http://schemas.microsoft.com/office/drawing/2014/main" id="{2B294C86-9214-442B-B939-EBA405AE69DE}"/>
                </a:ext>
              </a:extLst>
            </p:cNvPr>
            <p:cNvSpPr txBox="1">
              <a:spLocks/>
            </p:cNvSpPr>
            <p:nvPr/>
          </p:nvSpPr>
          <p:spPr>
            <a:xfrm>
              <a:off x="11497" y="83808"/>
              <a:ext cx="528503" cy="4022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fld id="{DF2EA21C-6081-4380-A131-131A2205B5FD}" type="slidenum">
                <a:rPr lang="en-US" sz="1800" b="1" smtClean="0">
                  <a:solidFill>
                    <a:schemeClr val="bg1"/>
                  </a:solidFill>
                  <a:latin typeface="Tahoma" panose="020B0604030504040204" pitchFamily="34" charset="0"/>
                  <a:ea typeface="Tahoma" panose="020B0604030504040204" pitchFamily="34" charset="0"/>
                  <a:cs typeface="Tahoma" panose="020B0604030504040204" pitchFamily="34" charset="0"/>
                </a:rPr>
                <a:t>9</a:t>
              </a:fld>
              <a:endParaRPr lang="en-US" sz="1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36" name="Picture 35">
              <a:extLst>
                <a:ext uri="{FF2B5EF4-FFF2-40B4-BE49-F238E27FC236}">
                  <a16:creationId xmlns:a16="http://schemas.microsoft.com/office/drawing/2014/main" id="{6D8D5D91-9DEF-4187-9BDD-351B878618FB}"/>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81" b="66542" l="7625" r="92563">
                          <a14:foregroundMark x1="8875" y1="21994" x2="8875" y2="21994"/>
                          <a14:foregroundMark x1="16114" y1="22647" x2="19750" y2="23206"/>
                          <a14:foregroundMark x1="11744" y1="21975" x2="15947" y2="22621"/>
                          <a14:foregroundMark x1="7625" y1="21342" x2="9853" y2="21684"/>
                          <a14:foregroundMark x1="19750" y1="23206" x2="19875" y2="21808"/>
                          <a14:foregroundMark x1="16875" y1="35788" x2="15063" y2="46785"/>
                          <a14:foregroundMark x1="15063" y1="46785" x2="18563" y2="57316"/>
                          <a14:foregroundMark x1="18563" y1="57316" x2="25063" y2="61230"/>
                          <a14:foregroundMark x1="25063" y1="61230" x2="25500" y2="61230"/>
                          <a14:foregroundMark x1="31625" y1="63187" x2="38063" y2="64212"/>
                          <a14:foregroundMark x1="38063" y1="64212" x2="58938" y2="59646"/>
                          <a14:foregroundMark x1="58938" y1="59646" x2="63813" y2="53029"/>
                          <a14:foregroundMark x1="63813" y1="53029" x2="64875" y2="40261"/>
                          <a14:foregroundMark x1="64875" y1="40261" x2="57250" y2="36440"/>
                          <a14:foregroundMark x1="57250" y1="36440" x2="46750" y2="35881"/>
                          <a14:foregroundMark x1="46750" y1="35881" x2="41063" y2="43709"/>
                          <a14:foregroundMark x1="41063" y1="43709" x2="48438" y2="44734"/>
                          <a14:foregroundMark x1="48438" y1="44734" x2="44438" y2="37092"/>
                          <a14:foregroundMark x1="44438" y1="37092" x2="37063" y2="39702"/>
                          <a14:foregroundMark x1="37063" y1="39702" x2="39000" y2="48835"/>
                          <a14:foregroundMark x1="39000" y1="48835" x2="48813" y2="50233"/>
                          <a14:foregroundMark x1="48813" y1="50233" x2="55250" y2="48928"/>
                          <a14:foregroundMark x1="55250" y1="48928" x2="57125" y2="39515"/>
                          <a14:foregroundMark x1="57125" y1="39515" x2="55250" y2="37185"/>
                          <a14:foregroundMark x1="21625" y1="31314" x2="38313" y2="26468"/>
                          <a14:foregroundMark x1="38313" y1="26468" x2="67000" y2="27400"/>
                          <a14:foregroundMark x1="67000" y1="27400" x2="76500" y2="25349"/>
                          <a14:foregroundMark x1="18313" y1="32060" x2="41500" y2="11463"/>
                          <a14:foregroundMark x1="41500" y1="11463" x2="61750" y2="8574"/>
                          <a14:foregroundMark x1="61750" y1="8574" x2="74500" y2="13700"/>
                          <a14:foregroundMark x1="74500" y1="13700" x2="83625" y2="28332"/>
                          <a14:foregroundMark x1="83625" y1="28332" x2="83280" y2="38442"/>
                          <a14:foregroundMark x1="83389" y1="37401" x2="70938" y2="47810"/>
                          <a14:foregroundMark x1="70938" y1="47810" x2="70813" y2="47810"/>
                          <a14:foregroundMark x1="37500" y1="56104" x2="49813" y2="56943"/>
                          <a14:foregroundMark x1="88000" y1="23672" x2="88000" y2="23672"/>
                          <a14:foregroundMark x1="87688" y1="28611" x2="91125" y2="20969"/>
                          <a14:foregroundMark x1="91125" y1="20969" x2="92563" y2="21528"/>
                          <a14:foregroundMark x1="34313" y1="62535" x2="41250" y2="64026"/>
                          <a14:foregroundMark x1="41250" y1="64026" x2="60250" y2="58527"/>
                          <a14:foregroundMark x1="60250" y1="58527" x2="76750" y2="42591"/>
                          <a14:foregroundMark x1="76750" y1="42591" x2="78063" y2="40354"/>
                          <a14:foregroundMark x1="34750" y1="66542" x2="61750" y2="58341"/>
                          <a14:foregroundMark x1="61750" y1="58341" x2="72938" y2="49115"/>
                          <a14:foregroundMark x1="72938" y1="49115" x2="77938" y2="41845"/>
                          <a14:backgroundMark x1="11188" y1="21715" x2="11188" y2="21715"/>
                          <a14:backgroundMark x1="11438" y1="21808" x2="11438" y2="21808"/>
                          <a14:backgroundMark x1="11313" y1="22367" x2="11188" y2="21342"/>
                          <a14:backgroundMark x1="11000" y1="21994" x2="10750" y2="20503"/>
                          <a14:backgroundMark x1="11438" y1="22460" x2="12000" y2="20969"/>
                          <a14:backgroundMark x1="17188" y1="22647" x2="17188" y2="22647"/>
                          <a14:backgroundMark x1="83375" y1="37651" x2="83688" y2="36906"/>
                          <a14:backgroundMark x1="82938" y1="39422" x2="83813" y2="36999"/>
                          <a14:backgroundMark x1="83000" y1="39049" x2="83750" y2="35694"/>
                          <a14:backgroundMark x1="82813" y1="39143" x2="83688" y2="34856"/>
                          <a14:backgroundMark x1="10688" y1="20317" x2="11063" y2="22181"/>
                          <a14:backgroundMark x1="17063" y1="21342" x2="17000" y2="22926"/>
                          <a14:backgroundMark x1="17438" y1="21435" x2="17063" y2="22926"/>
                        </a14:backgroundRemoval>
                      </a14:imgEffect>
                    </a14:imgLayer>
                  </a14:imgProps>
                </a:ext>
                <a:ext uri="{28A0092B-C50C-407E-A947-70E740481C1C}">
                  <a14:useLocalDpi xmlns:a14="http://schemas.microsoft.com/office/drawing/2010/main" val="0"/>
                </a:ext>
              </a:extLst>
            </a:blip>
            <a:srcRect l="4173" t="4910" r="2721" b="29778"/>
            <a:stretch/>
          </p:blipFill>
          <p:spPr>
            <a:xfrm>
              <a:off x="10687896" y="6037829"/>
              <a:ext cx="1440000" cy="677413"/>
            </a:xfrm>
            <a:prstGeom prst="rect">
              <a:avLst/>
            </a:prstGeom>
          </p:spPr>
        </p:pic>
      </p:grpSp>
      <p:grpSp>
        <p:nvGrpSpPr>
          <p:cNvPr id="48" name="Group 47">
            <a:extLst>
              <a:ext uri="{FF2B5EF4-FFF2-40B4-BE49-F238E27FC236}">
                <a16:creationId xmlns:a16="http://schemas.microsoft.com/office/drawing/2014/main" id="{B77823F1-A02A-4C9A-8A83-9692B7239029}"/>
              </a:ext>
            </a:extLst>
          </p:cNvPr>
          <p:cNvGrpSpPr/>
          <p:nvPr/>
        </p:nvGrpSpPr>
        <p:grpSpPr>
          <a:xfrm>
            <a:off x="600989" y="3607566"/>
            <a:ext cx="7379825" cy="3424188"/>
            <a:chOff x="414346" y="2172249"/>
            <a:chExt cx="7379825" cy="3424188"/>
          </a:xfrm>
        </p:grpSpPr>
        <p:sp>
          <p:nvSpPr>
            <p:cNvPr id="49" name="TextBox 48">
              <a:extLst>
                <a:ext uri="{FF2B5EF4-FFF2-40B4-BE49-F238E27FC236}">
                  <a16:creationId xmlns:a16="http://schemas.microsoft.com/office/drawing/2014/main" id="{9E546497-E00A-446E-BB14-05B141C97641}"/>
                </a:ext>
              </a:extLst>
            </p:cNvPr>
            <p:cNvSpPr txBox="1"/>
            <p:nvPr/>
          </p:nvSpPr>
          <p:spPr>
            <a:xfrm>
              <a:off x="414346" y="3349667"/>
              <a:ext cx="2160935" cy="1600438"/>
            </a:xfrm>
            <a:prstGeom prst="rect">
              <a:avLst/>
            </a:prstGeom>
            <a:noFill/>
          </p:spPr>
          <p:txBody>
            <a:bodyPr wrap="square" lIns="0" rtlCol="0">
              <a:spAutoFit/>
            </a:bodyPr>
            <a:lstStyle/>
            <a:p>
              <a:pPr marL="171450" marR="0" lvl="0" indent="-171450" algn="l" defTabSz="914400" rtl="0" eaLnBrk="1" fontAlgn="auto" latinLnBrk="0" hangingPunct="1">
                <a:lnSpc>
                  <a:spcPct val="100000"/>
                </a:lnSpc>
                <a:spcBef>
                  <a:spcPts val="0"/>
                </a:spcBef>
                <a:spcAft>
                  <a:spcPts val="0"/>
                </a:spcAft>
                <a:buClr>
                  <a:srgbClr val="00B0F0"/>
                </a:buClr>
                <a:buSzTx/>
                <a:buFont typeface="Tahoma" panose="020B0604030504040204" pitchFamily="34" charset="0"/>
                <a:buChar char="►"/>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Customer timetable data?</a:t>
              </a: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
                  <a:srgbClr val="00B0F0"/>
                </a:buClr>
                <a:buSzTx/>
                <a:buFont typeface="Tahoma" panose="020B060403050404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Weekday/Sat/Sun mileage?</a:t>
              </a:r>
            </a:p>
            <a:p>
              <a:pPr marL="171450" marR="0" lvl="0" indent="-171450" algn="l" defTabSz="914400" rtl="0" eaLnBrk="1" fontAlgn="auto" latinLnBrk="0" hangingPunct="1">
                <a:lnSpc>
                  <a:spcPct val="100000"/>
                </a:lnSpc>
                <a:spcBef>
                  <a:spcPts val="0"/>
                </a:spcBef>
                <a:spcAft>
                  <a:spcPts val="0"/>
                </a:spcAft>
                <a:buClr>
                  <a:srgbClr val="00B0F0"/>
                </a:buClr>
                <a:buSzTx/>
                <a:buFont typeface="Tahoma" panose="020B0604030504040204" pitchFamily="34" charset="0"/>
                <a:buChar char="►"/>
                <a:tabLst/>
                <a:defRPr/>
              </a:pPr>
              <a:r>
                <a:rPr lang="en-GB" sz="1400" dirty="0">
                  <a:solidFill>
                    <a:prstClr val="black"/>
                  </a:solidFill>
                  <a:latin typeface="Tahoma" panose="020B0604030504040204" pitchFamily="34" charset="0"/>
                  <a:ea typeface="Tahoma" panose="020B0604030504040204" pitchFamily="34" charset="0"/>
                  <a:cs typeface="Tahoma" panose="020B0604030504040204" pitchFamily="34" charset="0"/>
                </a:rPr>
                <a:t>Routes for tender.</a:t>
              </a: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
                  <a:srgbClr val="CE0011"/>
                </a:buClr>
                <a:buSzTx/>
                <a:buFont typeface="Tahoma" panose="020B060403050404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
                  <a:srgbClr val="CE0011"/>
                </a:buClr>
                <a:buSzTx/>
                <a:buFont typeface="Tahoma" panose="020B060403050404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0" name="Arrow: Notched Right 49">
              <a:extLst>
                <a:ext uri="{FF2B5EF4-FFF2-40B4-BE49-F238E27FC236}">
                  <a16:creationId xmlns:a16="http://schemas.microsoft.com/office/drawing/2014/main" id="{50E51349-6517-4B6D-BEC1-1A8651863E00}"/>
                </a:ext>
              </a:extLst>
            </p:cNvPr>
            <p:cNvSpPr/>
            <p:nvPr/>
          </p:nvSpPr>
          <p:spPr>
            <a:xfrm>
              <a:off x="414346" y="2763433"/>
              <a:ext cx="7379825" cy="788246"/>
            </a:xfrm>
            <a:prstGeom prst="notchedRightArrow">
              <a:avLst/>
            </a:prstGeom>
            <a:solidFill>
              <a:srgbClr val="CE0011"/>
            </a:solid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51" name="Freeform: Shape 50">
              <a:extLst>
                <a:ext uri="{FF2B5EF4-FFF2-40B4-BE49-F238E27FC236}">
                  <a16:creationId xmlns:a16="http://schemas.microsoft.com/office/drawing/2014/main" id="{5DA61816-7E07-4A38-B28E-04619CB18E9C}"/>
                </a:ext>
              </a:extLst>
            </p:cNvPr>
            <p:cNvSpPr/>
            <p:nvPr/>
          </p:nvSpPr>
          <p:spPr>
            <a:xfrm>
              <a:off x="418838" y="2172249"/>
              <a:ext cx="2160934" cy="788246"/>
            </a:xfrm>
            <a:custGeom>
              <a:avLst/>
              <a:gdLst>
                <a:gd name="connsiteX0" fmla="*/ 0 w 2160934"/>
                <a:gd name="connsiteY0" fmla="*/ 0 h 788246"/>
                <a:gd name="connsiteX1" fmla="*/ 2160934 w 2160934"/>
                <a:gd name="connsiteY1" fmla="*/ 0 h 788246"/>
                <a:gd name="connsiteX2" fmla="*/ 2160934 w 2160934"/>
                <a:gd name="connsiteY2" fmla="*/ 788246 h 788246"/>
                <a:gd name="connsiteX3" fmla="*/ 0 w 2160934"/>
                <a:gd name="connsiteY3" fmla="*/ 788246 h 788246"/>
                <a:gd name="connsiteX4" fmla="*/ 0 w 2160934"/>
                <a:gd name="connsiteY4" fmla="*/ 0 h 78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934" h="788246">
                  <a:moveTo>
                    <a:pt x="0" y="0"/>
                  </a:moveTo>
                  <a:lnTo>
                    <a:pt x="2160934" y="0"/>
                  </a:lnTo>
                  <a:lnTo>
                    <a:pt x="2160934" y="788246"/>
                  </a:lnTo>
                  <a:lnTo>
                    <a:pt x="0" y="788246"/>
                  </a:lnTo>
                  <a:lnTo>
                    <a:pt x="0" y="0"/>
                  </a:lnTo>
                  <a:close/>
                </a:path>
              </a:pathLst>
            </a:custGeom>
            <a:solidFill>
              <a:srgbClr val="00B0F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128016" rIns="128016" bIns="128016" numCol="1" spcCol="1270" anchor="b"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prstClr val="black">
                      <a:hueOff val="0"/>
                      <a:satOff val="0"/>
                      <a:lumOff val="0"/>
                      <a:alphaOff val="0"/>
                    </a:prstClr>
                  </a:solidFill>
                  <a:effectLst/>
                  <a:uLnTx/>
                  <a:uFillTx/>
                  <a:latin typeface="Tahoma" panose="020B0604030504040204" pitchFamily="34" charset="0"/>
                  <a:ea typeface="Tahoma" panose="020B0604030504040204" pitchFamily="34" charset="0"/>
                  <a:cs typeface="Tahoma" panose="020B0604030504040204" pitchFamily="34" charset="0"/>
                </a:rPr>
                <a:t>1. Identify Routes for Analysis</a:t>
              </a:r>
            </a:p>
          </p:txBody>
        </p:sp>
        <p:sp>
          <p:nvSpPr>
            <p:cNvPr id="52" name="Oval 51">
              <a:extLst>
                <a:ext uri="{FF2B5EF4-FFF2-40B4-BE49-F238E27FC236}">
                  <a16:creationId xmlns:a16="http://schemas.microsoft.com/office/drawing/2014/main" id="{F0104133-4142-4A02-BB13-410AD42C4C74}"/>
                </a:ext>
              </a:extLst>
            </p:cNvPr>
            <p:cNvSpPr/>
            <p:nvPr/>
          </p:nvSpPr>
          <p:spPr>
            <a:xfrm>
              <a:off x="1400775" y="3059025"/>
              <a:ext cx="197061" cy="197061"/>
            </a:xfrm>
            <a:prstGeom prst="ellipse">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53" name="Freeform: Shape 52">
              <a:extLst>
                <a:ext uri="{FF2B5EF4-FFF2-40B4-BE49-F238E27FC236}">
                  <a16:creationId xmlns:a16="http://schemas.microsoft.com/office/drawing/2014/main" id="{9D915EF5-E84B-4465-A43B-ACCC8AEB93CA}"/>
                </a:ext>
              </a:extLst>
            </p:cNvPr>
            <p:cNvSpPr/>
            <p:nvPr/>
          </p:nvSpPr>
          <p:spPr>
            <a:xfrm>
              <a:off x="2687819" y="2172249"/>
              <a:ext cx="2160934" cy="788246"/>
            </a:xfrm>
            <a:custGeom>
              <a:avLst/>
              <a:gdLst>
                <a:gd name="connsiteX0" fmla="*/ 0 w 2160934"/>
                <a:gd name="connsiteY0" fmla="*/ 0 h 788246"/>
                <a:gd name="connsiteX1" fmla="*/ 2160934 w 2160934"/>
                <a:gd name="connsiteY1" fmla="*/ 0 h 788246"/>
                <a:gd name="connsiteX2" fmla="*/ 2160934 w 2160934"/>
                <a:gd name="connsiteY2" fmla="*/ 788246 h 788246"/>
                <a:gd name="connsiteX3" fmla="*/ 0 w 2160934"/>
                <a:gd name="connsiteY3" fmla="*/ 788246 h 788246"/>
                <a:gd name="connsiteX4" fmla="*/ 0 w 2160934"/>
                <a:gd name="connsiteY4" fmla="*/ 0 h 78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934" h="788246">
                  <a:moveTo>
                    <a:pt x="0" y="0"/>
                  </a:moveTo>
                  <a:lnTo>
                    <a:pt x="2160934" y="0"/>
                  </a:lnTo>
                  <a:lnTo>
                    <a:pt x="2160934" y="788246"/>
                  </a:lnTo>
                  <a:lnTo>
                    <a:pt x="0" y="788246"/>
                  </a:lnTo>
                  <a:lnTo>
                    <a:pt x="0" y="0"/>
                  </a:lnTo>
                  <a:close/>
                </a:path>
              </a:pathLst>
            </a:custGeom>
            <a:solidFill>
              <a:schemeClr val="accent6"/>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128016" rIns="128016" bIns="128016"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prstClr val="black">
                      <a:hueOff val="0"/>
                      <a:satOff val="0"/>
                      <a:lumOff val="0"/>
                      <a:alphaOff val="0"/>
                    </a:prstClr>
                  </a:solidFill>
                  <a:effectLst/>
                  <a:uLnTx/>
                  <a:uFillTx/>
                  <a:latin typeface="Tahoma" panose="020B0604030504040204" pitchFamily="34" charset="0"/>
                  <a:ea typeface="Tahoma" panose="020B0604030504040204" pitchFamily="34" charset="0"/>
                  <a:cs typeface="Tahoma" panose="020B0604030504040204" pitchFamily="34" charset="0"/>
                </a:rPr>
                <a:t>2. Generate Duty Cycles</a:t>
              </a:r>
            </a:p>
          </p:txBody>
        </p:sp>
        <p:sp>
          <p:nvSpPr>
            <p:cNvPr id="54" name="Oval 53">
              <a:extLst>
                <a:ext uri="{FF2B5EF4-FFF2-40B4-BE49-F238E27FC236}">
                  <a16:creationId xmlns:a16="http://schemas.microsoft.com/office/drawing/2014/main" id="{BE0061D3-B288-48CE-B885-08CC841AAEAA}"/>
                </a:ext>
              </a:extLst>
            </p:cNvPr>
            <p:cNvSpPr/>
            <p:nvPr/>
          </p:nvSpPr>
          <p:spPr>
            <a:xfrm>
              <a:off x="3669755" y="3059025"/>
              <a:ext cx="197061" cy="197061"/>
            </a:xfrm>
            <a:prstGeom prst="ellipse">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55" name="Freeform: Shape 54">
              <a:extLst>
                <a:ext uri="{FF2B5EF4-FFF2-40B4-BE49-F238E27FC236}">
                  <a16:creationId xmlns:a16="http://schemas.microsoft.com/office/drawing/2014/main" id="{E8BD7789-4727-49D7-A6DD-719DF5A1685E}"/>
                </a:ext>
              </a:extLst>
            </p:cNvPr>
            <p:cNvSpPr/>
            <p:nvPr/>
          </p:nvSpPr>
          <p:spPr>
            <a:xfrm>
              <a:off x="4956800" y="2172249"/>
              <a:ext cx="2160934" cy="788246"/>
            </a:xfrm>
            <a:custGeom>
              <a:avLst/>
              <a:gdLst>
                <a:gd name="connsiteX0" fmla="*/ 0 w 2160934"/>
                <a:gd name="connsiteY0" fmla="*/ 0 h 788246"/>
                <a:gd name="connsiteX1" fmla="*/ 2160934 w 2160934"/>
                <a:gd name="connsiteY1" fmla="*/ 0 h 788246"/>
                <a:gd name="connsiteX2" fmla="*/ 2160934 w 2160934"/>
                <a:gd name="connsiteY2" fmla="*/ 788246 h 788246"/>
                <a:gd name="connsiteX3" fmla="*/ 0 w 2160934"/>
                <a:gd name="connsiteY3" fmla="*/ 788246 h 788246"/>
                <a:gd name="connsiteX4" fmla="*/ 0 w 2160934"/>
                <a:gd name="connsiteY4" fmla="*/ 0 h 788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934" h="788246">
                  <a:moveTo>
                    <a:pt x="0" y="0"/>
                  </a:moveTo>
                  <a:lnTo>
                    <a:pt x="2160934" y="0"/>
                  </a:lnTo>
                  <a:lnTo>
                    <a:pt x="2160934" y="788246"/>
                  </a:lnTo>
                  <a:lnTo>
                    <a:pt x="0" y="788246"/>
                  </a:lnTo>
                  <a:lnTo>
                    <a:pt x="0" y="0"/>
                  </a:lnTo>
                  <a:close/>
                </a:path>
              </a:pathLst>
            </a:custGeom>
            <a:solidFill>
              <a:schemeClr val="accent2"/>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128016" rIns="128016" bIns="128016" numCol="1" spcCol="1270" anchor="b"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prstClr val="black">
                      <a:hueOff val="0"/>
                      <a:satOff val="0"/>
                      <a:lumOff val="0"/>
                      <a:alphaOff val="0"/>
                    </a:prstClr>
                  </a:solidFill>
                  <a:effectLst/>
                  <a:uLnTx/>
                  <a:uFillTx/>
                  <a:latin typeface="Tahoma" panose="020B0604030504040204" pitchFamily="34" charset="0"/>
                  <a:ea typeface="Tahoma" panose="020B0604030504040204" pitchFamily="34" charset="0"/>
                  <a:cs typeface="Tahoma" panose="020B0604030504040204" pitchFamily="34" charset="0"/>
                </a:rPr>
                <a:t>3. Vehicle Simulations</a:t>
              </a:r>
            </a:p>
          </p:txBody>
        </p:sp>
        <p:sp>
          <p:nvSpPr>
            <p:cNvPr id="56" name="Oval 55">
              <a:extLst>
                <a:ext uri="{FF2B5EF4-FFF2-40B4-BE49-F238E27FC236}">
                  <a16:creationId xmlns:a16="http://schemas.microsoft.com/office/drawing/2014/main" id="{954DD82B-2D2F-4A4B-9E58-C9A313DBC460}"/>
                </a:ext>
              </a:extLst>
            </p:cNvPr>
            <p:cNvSpPr/>
            <p:nvPr/>
          </p:nvSpPr>
          <p:spPr>
            <a:xfrm>
              <a:off x="5938736" y="3059025"/>
              <a:ext cx="197061" cy="197061"/>
            </a:xfrm>
            <a:prstGeom prst="ellipse">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57" name="TextBox 56">
              <a:extLst>
                <a:ext uri="{FF2B5EF4-FFF2-40B4-BE49-F238E27FC236}">
                  <a16:creationId xmlns:a16="http://schemas.microsoft.com/office/drawing/2014/main" id="{B1485FE3-1EF6-42EA-AAD2-D42A769FD687}"/>
                </a:ext>
              </a:extLst>
            </p:cNvPr>
            <p:cNvSpPr txBox="1"/>
            <p:nvPr/>
          </p:nvSpPr>
          <p:spPr>
            <a:xfrm>
              <a:off x="2687820" y="3349668"/>
              <a:ext cx="2160934" cy="2246769"/>
            </a:xfrm>
            <a:prstGeom prst="rect">
              <a:avLst/>
            </a:prstGeom>
            <a:noFill/>
          </p:spPr>
          <p:txBody>
            <a:bodyPr wrap="square" lIns="0" rtlCol="0">
              <a:spAutoFit/>
            </a:bodyPr>
            <a:lstStyle/>
            <a:p>
              <a:pPr marL="171450" marR="0" lvl="0" indent="-171450" algn="l" defTabSz="914400" rtl="0" eaLnBrk="1" fontAlgn="auto" latinLnBrk="0" hangingPunct="1">
                <a:lnSpc>
                  <a:spcPct val="100000"/>
                </a:lnSpc>
                <a:spcBef>
                  <a:spcPts val="0"/>
                </a:spcBef>
                <a:spcAft>
                  <a:spcPts val="0"/>
                </a:spcAft>
                <a:buClr>
                  <a:srgbClr val="70AD47"/>
                </a:buClr>
                <a:buSzTx/>
                <a:buFont typeface="Tahoma" panose="020B060403050404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amford Technology Centre - Queen’s University, Belfast</a:t>
              </a:r>
            </a:p>
            <a:p>
              <a:pPr marL="171450" marR="0" lvl="0" indent="-171450" algn="l" defTabSz="914400" rtl="0" eaLnBrk="1" fontAlgn="auto" latinLnBrk="0" hangingPunct="1">
                <a:lnSpc>
                  <a:spcPct val="100000"/>
                </a:lnSpc>
                <a:spcBef>
                  <a:spcPts val="0"/>
                </a:spcBef>
                <a:spcAft>
                  <a:spcPts val="0"/>
                </a:spcAft>
                <a:buClr>
                  <a:srgbClr val="70AD47"/>
                </a:buClr>
                <a:buSzTx/>
                <a:buFont typeface="Tahoma" panose="020B060403050404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elocity/elevation profile of the bus: </a:t>
              </a:r>
              <a:r>
                <a:rPr kumimoji="0" lang="en-GB" sz="1400" b="0" i="1"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stops, traffic, acceleration/braking, etc.</a:t>
              </a:r>
            </a:p>
            <a:p>
              <a:pPr marL="171450" marR="0" lvl="0" indent="-171450" algn="l" defTabSz="914400" rtl="0" eaLnBrk="1" fontAlgn="auto" latinLnBrk="0" hangingPunct="1">
                <a:lnSpc>
                  <a:spcPct val="100000"/>
                </a:lnSpc>
                <a:spcBef>
                  <a:spcPts val="0"/>
                </a:spcBef>
                <a:spcAft>
                  <a:spcPts val="0"/>
                </a:spcAft>
                <a:buClr>
                  <a:srgbClr val="CE0011"/>
                </a:buClr>
                <a:buSzTx/>
                <a:buFont typeface="Tahoma" panose="020B060403050404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
                  <a:srgbClr val="CE0011"/>
                </a:buClr>
                <a:buSzTx/>
                <a:buFont typeface="Tahoma" panose="020B060403050404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8" name="TextBox 57">
              <a:extLst>
                <a:ext uri="{FF2B5EF4-FFF2-40B4-BE49-F238E27FC236}">
                  <a16:creationId xmlns:a16="http://schemas.microsoft.com/office/drawing/2014/main" id="{79EB66C3-462A-4BF3-B2B8-116DD94919F7}"/>
                </a:ext>
              </a:extLst>
            </p:cNvPr>
            <p:cNvSpPr txBox="1"/>
            <p:nvPr/>
          </p:nvSpPr>
          <p:spPr>
            <a:xfrm>
              <a:off x="4956800" y="3349667"/>
              <a:ext cx="2160934" cy="954107"/>
            </a:xfrm>
            <a:prstGeom prst="rect">
              <a:avLst/>
            </a:prstGeom>
            <a:noFill/>
          </p:spPr>
          <p:txBody>
            <a:bodyPr wrap="square" lIns="0" rtlCol="0">
              <a:spAutoFit/>
            </a:bodyPr>
            <a:lstStyle/>
            <a:p>
              <a:pPr marL="171450" marR="0" lvl="0" indent="-171450" algn="l" defTabSz="914400" rtl="0" eaLnBrk="1" fontAlgn="auto" latinLnBrk="0" hangingPunct="1">
                <a:lnSpc>
                  <a:spcPct val="100000"/>
                </a:lnSpc>
                <a:spcBef>
                  <a:spcPts val="0"/>
                </a:spcBef>
                <a:spcAft>
                  <a:spcPts val="0"/>
                </a:spcAft>
                <a:buClr>
                  <a:srgbClr val="ED7D31"/>
                </a:buClr>
                <a:buSzTx/>
                <a:buFont typeface="Tahoma" panose="020B060403050404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ehicle power demands</a:t>
              </a:r>
            </a:p>
            <a:p>
              <a:pPr marL="171450" marR="0" lvl="0" indent="-171450" algn="l" defTabSz="914400" rtl="0" eaLnBrk="1" fontAlgn="auto" latinLnBrk="0" hangingPunct="1">
                <a:lnSpc>
                  <a:spcPct val="100000"/>
                </a:lnSpc>
                <a:spcBef>
                  <a:spcPts val="0"/>
                </a:spcBef>
                <a:spcAft>
                  <a:spcPts val="0"/>
                </a:spcAft>
                <a:buClr>
                  <a:srgbClr val="ED7D31"/>
                </a:buClr>
                <a:buSzTx/>
                <a:buFont typeface="Tahoma" panose="020B060403050404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Energy/ fuel-consumption</a:t>
              </a:r>
            </a:p>
            <a:p>
              <a:pPr marL="171450" marR="0" lvl="0" indent="-171450" algn="l" defTabSz="914400" rtl="0" eaLnBrk="1" fontAlgn="auto" latinLnBrk="0" hangingPunct="1">
                <a:lnSpc>
                  <a:spcPct val="100000"/>
                </a:lnSpc>
                <a:spcBef>
                  <a:spcPts val="0"/>
                </a:spcBef>
                <a:spcAft>
                  <a:spcPts val="0"/>
                </a:spcAft>
                <a:buClr>
                  <a:srgbClr val="CE0011"/>
                </a:buClr>
                <a:buSzTx/>
                <a:buFont typeface="Tahoma" panose="020B060403050404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aphicFrame>
        <p:nvGraphicFramePr>
          <p:cNvPr id="59" name="Chart 58">
            <a:extLst>
              <a:ext uri="{FF2B5EF4-FFF2-40B4-BE49-F238E27FC236}">
                <a16:creationId xmlns:a16="http://schemas.microsoft.com/office/drawing/2014/main" id="{4386596C-8F01-4466-AEAC-1500039D9620}"/>
              </a:ext>
            </a:extLst>
          </p:cNvPr>
          <p:cNvGraphicFramePr>
            <a:graphicFrameLocks/>
          </p:cNvGraphicFramePr>
          <p:nvPr>
            <p:extLst>
              <p:ext uri="{D42A27DB-BD31-4B8C-83A1-F6EECF244321}">
                <p14:modId xmlns:p14="http://schemas.microsoft.com/office/powerpoint/2010/main" val="1066255769"/>
              </p:ext>
            </p:extLst>
          </p:nvPr>
        </p:nvGraphicFramePr>
        <p:xfrm>
          <a:off x="2874460" y="2262773"/>
          <a:ext cx="2160935" cy="1205418"/>
        </p:xfrm>
        <a:graphic>
          <a:graphicData uri="http://schemas.openxmlformats.org/drawingml/2006/chart">
            <c:chart xmlns:c="http://schemas.openxmlformats.org/drawingml/2006/chart" xmlns:r="http://schemas.openxmlformats.org/officeDocument/2006/relationships" r:id="rId12"/>
          </a:graphicData>
        </a:graphic>
      </p:graphicFrame>
      <p:grpSp>
        <p:nvGrpSpPr>
          <p:cNvPr id="60" name="Group 59">
            <a:extLst>
              <a:ext uri="{FF2B5EF4-FFF2-40B4-BE49-F238E27FC236}">
                <a16:creationId xmlns:a16="http://schemas.microsoft.com/office/drawing/2014/main" id="{933C517A-99CD-4116-A6B3-2C52AEB781C9}"/>
              </a:ext>
            </a:extLst>
          </p:cNvPr>
          <p:cNvGrpSpPr>
            <a:grpSpLocks noChangeAspect="1"/>
          </p:cNvGrpSpPr>
          <p:nvPr/>
        </p:nvGrpSpPr>
        <p:grpSpPr>
          <a:xfrm>
            <a:off x="5144377" y="2321686"/>
            <a:ext cx="2160000" cy="1146505"/>
            <a:chOff x="1386273" y="9185548"/>
            <a:chExt cx="810891" cy="426132"/>
          </a:xfrm>
        </p:grpSpPr>
        <p:sp>
          <p:nvSpPr>
            <p:cNvPr id="61" name="Isosceles Triangle 60">
              <a:extLst>
                <a:ext uri="{FF2B5EF4-FFF2-40B4-BE49-F238E27FC236}">
                  <a16:creationId xmlns:a16="http://schemas.microsoft.com/office/drawing/2014/main" id="{92F59428-E515-45AC-9A33-A0D35FA3E220}"/>
                </a:ext>
              </a:extLst>
            </p:cNvPr>
            <p:cNvSpPr/>
            <p:nvPr/>
          </p:nvSpPr>
          <p:spPr>
            <a:xfrm flipH="1">
              <a:off x="1507961" y="9438754"/>
              <a:ext cx="552756" cy="105227"/>
            </a:xfrm>
            <a:prstGeom prst="triangle">
              <a:avLst>
                <a:gd name="adj" fmla="val 0"/>
              </a:avLst>
            </a:prstGeom>
            <a:solidFill>
              <a:srgbClr val="6F9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nvGrpSpPr>
            <p:cNvPr id="62" name="Group 61">
              <a:extLst>
                <a:ext uri="{FF2B5EF4-FFF2-40B4-BE49-F238E27FC236}">
                  <a16:creationId xmlns:a16="http://schemas.microsoft.com/office/drawing/2014/main" id="{EC439488-DA7E-45DE-98A4-C53BDE0601C6}"/>
                </a:ext>
              </a:extLst>
            </p:cNvPr>
            <p:cNvGrpSpPr>
              <a:grpSpLocks noChangeAspect="1"/>
            </p:cNvGrpSpPr>
            <p:nvPr/>
          </p:nvGrpSpPr>
          <p:grpSpPr>
            <a:xfrm rot="-600000" flipH="1">
              <a:off x="1513070" y="9314930"/>
              <a:ext cx="540000" cy="179780"/>
              <a:chOff x="1470040" y="8464215"/>
              <a:chExt cx="1466689" cy="488300"/>
            </a:xfrm>
          </p:grpSpPr>
          <p:grpSp>
            <p:nvGrpSpPr>
              <p:cNvPr id="72" name="Group 71">
                <a:extLst>
                  <a:ext uri="{FF2B5EF4-FFF2-40B4-BE49-F238E27FC236}">
                    <a16:creationId xmlns:a16="http://schemas.microsoft.com/office/drawing/2014/main" id="{4B13DF60-1099-4669-805A-1B0354D5D7D0}"/>
                  </a:ext>
                </a:extLst>
              </p:cNvPr>
              <p:cNvGrpSpPr/>
              <p:nvPr/>
            </p:nvGrpSpPr>
            <p:grpSpPr>
              <a:xfrm>
                <a:off x="1470040" y="8464216"/>
                <a:ext cx="1466689" cy="488299"/>
                <a:chOff x="1470040" y="8464216"/>
                <a:chExt cx="1466689" cy="488299"/>
              </a:xfrm>
              <a:solidFill>
                <a:schemeClr val="tx1"/>
              </a:solidFill>
            </p:grpSpPr>
            <p:sp>
              <p:nvSpPr>
                <p:cNvPr id="80" name="Rounded Rectangle 156">
                  <a:extLst>
                    <a:ext uri="{FF2B5EF4-FFF2-40B4-BE49-F238E27FC236}">
                      <a16:creationId xmlns:a16="http://schemas.microsoft.com/office/drawing/2014/main" id="{AC5AECBA-F313-4529-B700-CF767AE005D9}"/>
                    </a:ext>
                  </a:extLst>
                </p:cNvPr>
                <p:cNvSpPr/>
                <p:nvPr/>
              </p:nvSpPr>
              <p:spPr>
                <a:xfrm>
                  <a:off x="1492479" y="8464217"/>
                  <a:ext cx="1142951" cy="427925"/>
                </a:xfrm>
                <a:prstGeom prst="roundRect">
                  <a:avLst>
                    <a:gd name="adj" fmla="val 7007"/>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1" name="Rounded Rectangle 160">
                  <a:extLst>
                    <a:ext uri="{FF2B5EF4-FFF2-40B4-BE49-F238E27FC236}">
                      <a16:creationId xmlns:a16="http://schemas.microsoft.com/office/drawing/2014/main" id="{79835E0E-FCA3-4266-8737-CEEE0D39EDA1}"/>
                    </a:ext>
                  </a:extLst>
                </p:cNvPr>
                <p:cNvSpPr/>
                <p:nvPr/>
              </p:nvSpPr>
              <p:spPr>
                <a:xfrm>
                  <a:off x="2635430" y="8464216"/>
                  <a:ext cx="301299" cy="311808"/>
                </a:xfrm>
                <a:prstGeom prst="roundRect">
                  <a:avLst>
                    <a:gd name="adj" fmla="val 23730"/>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2" name="Rectangle 81">
                  <a:extLst>
                    <a:ext uri="{FF2B5EF4-FFF2-40B4-BE49-F238E27FC236}">
                      <a16:creationId xmlns:a16="http://schemas.microsoft.com/office/drawing/2014/main" id="{2E55C9EC-DA0A-45D5-B076-113C4DA441C9}"/>
                    </a:ext>
                  </a:extLst>
                </p:cNvPr>
                <p:cNvSpPr/>
                <p:nvPr/>
              </p:nvSpPr>
              <p:spPr>
                <a:xfrm>
                  <a:off x="2593071" y="8530966"/>
                  <a:ext cx="342908" cy="289729"/>
                </a:xfrm>
                <a:prstGeom prst="rect">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3" name="Isosceles Triangle 82">
                  <a:extLst>
                    <a:ext uri="{FF2B5EF4-FFF2-40B4-BE49-F238E27FC236}">
                      <a16:creationId xmlns:a16="http://schemas.microsoft.com/office/drawing/2014/main" id="{6C110E12-15BB-4FB5-BC00-9FB4B1A2F01B}"/>
                    </a:ext>
                  </a:extLst>
                </p:cNvPr>
                <p:cNvSpPr/>
                <p:nvPr/>
              </p:nvSpPr>
              <p:spPr>
                <a:xfrm flipV="1">
                  <a:off x="2612729" y="8820695"/>
                  <a:ext cx="324000" cy="71448"/>
                </a:xfrm>
                <a:prstGeom prst="triangle">
                  <a:avLst>
                    <a:gd name="adj" fmla="val 0"/>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4" name="Rounded Rectangle 164">
                  <a:extLst>
                    <a:ext uri="{FF2B5EF4-FFF2-40B4-BE49-F238E27FC236}">
                      <a16:creationId xmlns:a16="http://schemas.microsoft.com/office/drawing/2014/main" id="{EA11886D-0989-4432-BD1A-3C4F503C3C4D}"/>
                    </a:ext>
                  </a:extLst>
                </p:cNvPr>
                <p:cNvSpPr/>
                <p:nvPr/>
              </p:nvSpPr>
              <p:spPr>
                <a:xfrm>
                  <a:off x="1470044" y="8690664"/>
                  <a:ext cx="68108" cy="201478"/>
                </a:xfrm>
                <a:prstGeom prst="roundRect">
                  <a:avLst>
                    <a:gd name="adj" fmla="val 50000"/>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5" name="Isosceles Triangle 84">
                  <a:extLst>
                    <a:ext uri="{FF2B5EF4-FFF2-40B4-BE49-F238E27FC236}">
                      <a16:creationId xmlns:a16="http://schemas.microsoft.com/office/drawing/2014/main" id="{C1380138-3B33-439A-B2AD-6A65FCF5CBC9}"/>
                    </a:ext>
                  </a:extLst>
                </p:cNvPr>
                <p:cNvSpPr/>
                <p:nvPr/>
              </p:nvSpPr>
              <p:spPr>
                <a:xfrm flipH="1">
                  <a:off x="1470040" y="8646884"/>
                  <a:ext cx="45719" cy="45719"/>
                </a:xfrm>
                <a:prstGeom prst="triangle">
                  <a:avLst>
                    <a:gd name="adj" fmla="val 0"/>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6" name="Rounded Rectangle 166">
                  <a:extLst>
                    <a:ext uri="{FF2B5EF4-FFF2-40B4-BE49-F238E27FC236}">
                      <a16:creationId xmlns:a16="http://schemas.microsoft.com/office/drawing/2014/main" id="{6FB9C555-2C06-4813-9ADC-BAE42CA468D3}"/>
                    </a:ext>
                  </a:extLst>
                </p:cNvPr>
                <p:cNvSpPr/>
                <p:nvPr/>
              </p:nvSpPr>
              <p:spPr>
                <a:xfrm>
                  <a:off x="1470044" y="8690664"/>
                  <a:ext cx="68108" cy="45719"/>
                </a:xfrm>
                <a:prstGeom prst="roundRect">
                  <a:avLst>
                    <a:gd name="adj" fmla="val 0"/>
                  </a:avLst>
                </a:prstGeom>
                <a:grp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7" name="Oval 86">
                  <a:extLst>
                    <a:ext uri="{FF2B5EF4-FFF2-40B4-BE49-F238E27FC236}">
                      <a16:creationId xmlns:a16="http://schemas.microsoft.com/office/drawing/2014/main" id="{524CCE04-5CC0-492B-88E7-F3B015B7F850}"/>
                    </a:ext>
                  </a:extLst>
                </p:cNvPr>
                <p:cNvSpPr>
                  <a:spLocks noChangeAspect="1"/>
                </p:cNvSpPr>
                <p:nvPr/>
              </p:nvSpPr>
              <p:spPr>
                <a:xfrm>
                  <a:off x="1711038" y="877087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8" name="Oval 87">
                  <a:extLst>
                    <a:ext uri="{FF2B5EF4-FFF2-40B4-BE49-F238E27FC236}">
                      <a16:creationId xmlns:a16="http://schemas.microsoft.com/office/drawing/2014/main" id="{6DAFE3AC-7FE4-4281-B7EC-CCED70F5B055}"/>
                    </a:ext>
                  </a:extLst>
                </p:cNvPr>
                <p:cNvSpPr>
                  <a:spLocks noChangeAspect="1"/>
                </p:cNvSpPr>
                <p:nvPr/>
              </p:nvSpPr>
              <p:spPr>
                <a:xfrm>
                  <a:off x="2446773" y="8772515"/>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9" name="Donut 1026">
                  <a:extLst>
                    <a:ext uri="{FF2B5EF4-FFF2-40B4-BE49-F238E27FC236}">
                      <a16:creationId xmlns:a16="http://schemas.microsoft.com/office/drawing/2014/main" id="{53AAC862-0130-44A7-839A-B4AAA21935F9}"/>
                    </a:ext>
                  </a:extLst>
                </p:cNvPr>
                <p:cNvSpPr>
                  <a:spLocks noChangeAspect="1"/>
                </p:cNvSpPr>
                <p:nvPr/>
              </p:nvSpPr>
              <p:spPr>
                <a:xfrm>
                  <a:off x="1723782" y="8783707"/>
                  <a:ext cx="154512" cy="154512"/>
                </a:xfrm>
                <a:prstGeom prst="don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90" name="Donut 170">
                  <a:extLst>
                    <a:ext uri="{FF2B5EF4-FFF2-40B4-BE49-F238E27FC236}">
                      <a16:creationId xmlns:a16="http://schemas.microsoft.com/office/drawing/2014/main" id="{B5148602-2D61-422D-A74F-CECBF34C1625}"/>
                    </a:ext>
                  </a:extLst>
                </p:cNvPr>
                <p:cNvSpPr>
                  <a:spLocks noChangeAspect="1"/>
                </p:cNvSpPr>
                <p:nvPr/>
              </p:nvSpPr>
              <p:spPr>
                <a:xfrm>
                  <a:off x="2458619" y="8786606"/>
                  <a:ext cx="154512" cy="154512"/>
                </a:xfrm>
                <a:prstGeom prst="don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grpSp>
          <p:grpSp>
            <p:nvGrpSpPr>
              <p:cNvPr id="73" name="Group 72">
                <a:extLst>
                  <a:ext uri="{FF2B5EF4-FFF2-40B4-BE49-F238E27FC236}">
                    <a16:creationId xmlns:a16="http://schemas.microsoft.com/office/drawing/2014/main" id="{F4CED39E-EA74-4EA5-AB41-467B81B6E02A}"/>
                  </a:ext>
                </a:extLst>
              </p:cNvPr>
              <p:cNvGrpSpPr/>
              <p:nvPr/>
            </p:nvGrpSpPr>
            <p:grpSpPr>
              <a:xfrm>
                <a:off x="1560919" y="8530966"/>
                <a:ext cx="1327379" cy="305786"/>
                <a:chOff x="1560919" y="8530966"/>
                <a:chExt cx="1327379" cy="305786"/>
              </a:xfrm>
            </p:grpSpPr>
            <p:sp>
              <p:nvSpPr>
                <p:cNvPr id="75" name="Rounded Rectangle 1028">
                  <a:extLst>
                    <a:ext uri="{FF2B5EF4-FFF2-40B4-BE49-F238E27FC236}">
                      <a16:creationId xmlns:a16="http://schemas.microsoft.com/office/drawing/2014/main" id="{3A8B6747-AEB7-4AA5-ACD4-A36F198CB365}"/>
                    </a:ext>
                  </a:extLst>
                </p:cNvPr>
                <p:cNvSpPr/>
                <p:nvPr/>
              </p:nvSpPr>
              <p:spPr>
                <a:xfrm>
                  <a:off x="1560919" y="8530966"/>
                  <a:ext cx="101137" cy="305786"/>
                </a:xfrm>
                <a:prstGeom prst="roundRect">
                  <a:avLst>
                    <a:gd name="adj" fmla="val 294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6" name="Rounded Rectangle 173">
                  <a:extLst>
                    <a:ext uri="{FF2B5EF4-FFF2-40B4-BE49-F238E27FC236}">
                      <a16:creationId xmlns:a16="http://schemas.microsoft.com/office/drawing/2014/main" id="{3CEE5F56-1E4C-4F99-9D27-C75D42FD5790}"/>
                    </a:ext>
                  </a:extLst>
                </p:cNvPr>
                <p:cNvSpPr/>
                <p:nvPr/>
              </p:nvSpPr>
              <p:spPr>
                <a:xfrm>
                  <a:off x="1713319" y="8530966"/>
                  <a:ext cx="270000" cy="126000"/>
                </a:xfrm>
                <a:prstGeom prst="roundRect">
                  <a:avLst>
                    <a:gd name="adj" fmla="val 294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7" name="Rounded Rectangle 174">
                  <a:extLst>
                    <a:ext uri="{FF2B5EF4-FFF2-40B4-BE49-F238E27FC236}">
                      <a16:creationId xmlns:a16="http://schemas.microsoft.com/office/drawing/2014/main" id="{3D24E298-A869-4C56-B2C2-09B6A9643B15}"/>
                    </a:ext>
                  </a:extLst>
                </p:cNvPr>
                <p:cNvSpPr/>
                <p:nvPr/>
              </p:nvSpPr>
              <p:spPr>
                <a:xfrm>
                  <a:off x="2018194" y="8530966"/>
                  <a:ext cx="270000" cy="126000"/>
                </a:xfrm>
                <a:prstGeom prst="roundRect">
                  <a:avLst>
                    <a:gd name="adj" fmla="val 294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8" name="Rounded Rectangle 175">
                  <a:extLst>
                    <a:ext uri="{FF2B5EF4-FFF2-40B4-BE49-F238E27FC236}">
                      <a16:creationId xmlns:a16="http://schemas.microsoft.com/office/drawing/2014/main" id="{C2C8998F-0944-45B4-BC38-0C988700A853}"/>
                    </a:ext>
                  </a:extLst>
                </p:cNvPr>
                <p:cNvSpPr/>
                <p:nvPr/>
              </p:nvSpPr>
              <p:spPr>
                <a:xfrm>
                  <a:off x="2318742" y="8531778"/>
                  <a:ext cx="270000" cy="126000"/>
                </a:xfrm>
                <a:prstGeom prst="roundRect">
                  <a:avLst>
                    <a:gd name="adj" fmla="val 294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9" name="Rounded Rectangle 176">
                  <a:extLst>
                    <a:ext uri="{FF2B5EF4-FFF2-40B4-BE49-F238E27FC236}">
                      <a16:creationId xmlns:a16="http://schemas.microsoft.com/office/drawing/2014/main" id="{25194D4B-8AC7-4F4E-9DFF-F3F192465CEA}"/>
                    </a:ext>
                  </a:extLst>
                </p:cNvPr>
                <p:cNvSpPr/>
                <p:nvPr/>
              </p:nvSpPr>
              <p:spPr>
                <a:xfrm>
                  <a:off x="2618298" y="8534450"/>
                  <a:ext cx="270000" cy="126000"/>
                </a:xfrm>
                <a:prstGeom prst="roundRect">
                  <a:avLst>
                    <a:gd name="adj" fmla="val 2940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sp>
            <p:nvSpPr>
              <p:cNvPr id="74" name="Rectangle 73">
                <a:extLst>
                  <a:ext uri="{FF2B5EF4-FFF2-40B4-BE49-F238E27FC236}">
                    <a16:creationId xmlns:a16="http://schemas.microsoft.com/office/drawing/2014/main" id="{6167CFBD-FEB2-4586-93BA-BE827B4C77EC}"/>
                  </a:ext>
                </a:extLst>
              </p:cNvPr>
              <p:cNvSpPr/>
              <p:nvPr/>
            </p:nvSpPr>
            <p:spPr>
              <a:xfrm>
                <a:off x="2494148" y="8464215"/>
                <a:ext cx="343659" cy="66751"/>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cxnSp>
          <p:nvCxnSpPr>
            <p:cNvPr id="63" name="Straight Arrow Connector 62">
              <a:extLst>
                <a:ext uri="{FF2B5EF4-FFF2-40B4-BE49-F238E27FC236}">
                  <a16:creationId xmlns:a16="http://schemas.microsoft.com/office/drawing/2014/main" id="{D2759A75-278C-4DB9-BDC3-0D3BF826D5B3}"/>
                </a:ext>
              </a:extLst>
            </p:cNvPr>
            <p:cNvCxnSpPr>
              <a:cxnSpLocks noChangeAspect="1"/>
            </p:cNvCxnSpPr>
            <p:nvPr/>
          </p:nvCxnSpPr>
          <p:spPr>
            <a:xfrm flipH="1">
              <a:off x="1566249" y="9511619"/>
              <a:ext cx="108000" cy="20561"/>
            </a:xfrm>
            <a:prstGeom prst="straightConnector1">
              <a:avLst/>
            </a:prstGeom>
            <a:ln>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0839C5FB-0D5F-45A7-A151-D4189C890F01}"/>
                </a:ext>
              </a:extLst>
            </p:cNvPr>
            <p:cNvCxnSpPr>
              <a:cxnSpLocks noChangeAspect="1"/>
            </p:cNvCxnSpPr>
            <p:nvPr/>
          </p:nvCxnSpPr>
          <p:spPr>
            <a:xfrm flipH="1">
              <a:off x="1838845" y="9463339"/>
              <a:ext cx="108000" cy="20561"/>
            </a:xfrm>
            <a:prstGeom prst="straightConnector1">
              <a:avLst/>
            </a:prstGeom>
            <a:ln>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B28F0B9-E3E7-4BE8-BAE0-60980D5FF20E}"/>
                </a:ext>
              </a:extLst>
            </p:cNvPr>
            <p:cNvCxnSpPr>
              <a:cxnSpLocks noChangeAspect="1"/>
            </p:cNvCxnSpPr>
            <p:nvPr/>
          </p:nvCxnSpPr>
          <p:spPr>
            <a:xfrm flipH="1">
              <a:off x="2034754" y="9316916"/>
              <a:ext cx="108000" cy="20561"/>
            </a:xfrm>
            <a:prstGeom prst="straightConnector1">
              <a:avLst/>
            </a:prstGeom>
            <a:ln>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196334F5-47D3-4750-999D-3BA2A296211A}"/>
                </a:ext>
              </a:extLst>
            </p:cNvPr>
            <p:cNvCxnSpPr>
              <a:cxnSpLocks/>
            </p:cNvCxnSpPr>
            <p:nvPr/>
          </p:nvCxnSpPr>
          <p:spPr>
            <a:xfrm>
              <a:off x="1793954" y="9398148"/>
              <a:ext cx="0" cy="144000"/>
            </a:xfrm>
            <a:prstGeom prst="straightConnector1">
              <a:avLst/>
            </a:prstGeom>
            <a:ln>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A5A1F534-F0B3-483F-824C-A05AD87546DE}"/>
                </a:ext>
              </a:extLst>
            </p:cNvPr>
            <p:cNvCxnSpPr>
              <a:cxnSpLocks/>
            </p:cNvCxnSpPr>
            <p:nvPr/>
          </p:nvCxnSpPr>
          <p:spPr>
            <a:xfrm rot="-600000" flipV="1">
              <a:off x="1588741" y="9283526"/>
              <a:ext cx="360000" cy="0"/>
            </a:xfrm>
            <a:prstGeom prst="straightConnector1">
              <a:avLst/>
            </a:prstGeom>
            <a:ln>
              <a:solidFill>
                <a:srgbClr val="C00000"/>
              </a:solidFill>
              <a:tailEnd type="triangle" w="sm" len="sm"/>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79F3EB8-38E0-4F52-B336-4D0C7085F6C7}"/>
                </a:ext>
              </a:extLst>
            </p:cNvPr>
            <p:cNvSpPr txBox="1"/>
            <p:nvPr/>
          </p:nvSpPr>
          <p:spPr>
            <a:xfrm rot="21000000" flipH="1">
              <a:off x="1633658" y="9185548"/>
              <a:ext cx="185391" cy="78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F</a:t>
              </a:r>
              <a:r>
                <a:rPr kumimoji="0" lang="en-GB" sz="1600" b="0" i="1" u="none" strike="noStrike" kern="1200" cap="none" spc="0" normalizeH="0" baseline="-2500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cc</a:t>
              </a:r>
              <a:endParaRPr kumimoji="0" lang="en-GB" sz="1600" b="0" i="1" u="none" strike="noStrike" kern="1200" cap="none" spc="0" normalizeH="0" baseline="-2500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9" name="TextBox 68">
              <a:extLst>
                <a:ext uri="{FF2B5EF4-FFF2-40B4-BE49-F238E27FC236}">
                  <a16:creationId xmlns:a16="http://schemas.microsoft.com/office/drawing/2014/main" id="{317278BC-99F0-4CFB-A1B5-CCEB07BB8516}"/>
                </a:ext>
              </a:extLst>
            </p:cNvPr>
            <p:cNvSpPr txBox="1"/>
            <p:nvPr/>
          </p:nvSpPr>
          <p:spPr>
            <a:xfrm rot="21000000" flipH="1">
              <a:off x="2011773" y="9213387"/>
              <a:ext cx="185391" cy="78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F</a:t>
              </a:r>
              <a:r>
                <a:rPr kumimoji="0" lang="en-GB" sz="1600" b="0" i="1" u="none" strike="noStrike" kern="1200" cap="none" spc="0" normalizeH="0" baseline="-2500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ero</a:t>
              </a:r>
              <a:endParaRPr kumimoji="0" lang="en-GB" sz="1600" b="0" i="1" u="none" strike="noStrike" kern="1200" cap="none" spc="0" normalizeH="0" baseline="-2500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0" name="TextBox 69">
              <a:extLst>
                <a:ext uri="{FF2B5EF4-FFF2-40B4-BE49-F238E27FC236}">
                  <a16:creationId xmlns:a16="http://schemas.microsoft.com/office/drawing/2014/main" id="{C99638C4-A41C-4C37-9935-A7B0A0091B1B}"/>
                </a:ext>
              </a:extLst>
            </p:cNvPr>
            <p:cNvSpPr txBox="1"/>
            <p:nvPr/>
          </p:nvSpPr>
          <p:spPr>
            <a:xfrm rot="21000000" flipH="1">
              <a:off x="1386273" y="9497156"/>
              <a:ext cx="185391" cy="78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F</a:t>
              </a:r>
              <a:r>
                <a:rPr kumimoji="0" lang="en-GB" sz="1600" b="0" i="1" u="none" strike="noStrike" kern="1200" cap="none" spc="0" normalizeH="0" baseline="-2500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r</a:t>
              </a:r>
              <a:endParaRPr kumimoji="0" lang="en-GB" sz="1600" b="0" i="1" u="none" strike="noStrike" kern="1200" cap="none" spc="0" normalizeH="0" baseline="-2500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1" name="TextBox 70">
              <a:extLst>
                <a:ext uri="{FF2B5EF4-FFF2-40B4-BE49-F238E27FC236}">
                  <a16:creationId xmlns:a16="http://schemas.microsoft.com/office/drawing/2014/main" id="{1D8CE083-3F7C-43AE-9DAF-2DC474047CC0}"/>
                </a:ext>
              </a:extLst>
            </p:cNvPr>
            <p:cNvSpPr txBox="1"/>
            <p:nvPr/>
          </p:nvSpPr>
          <p:spPr>
            <a:xfrm flipH="1">
              <a:off x="1691641" y="9533335"/>
              <a:ext cx="185391" cy="7834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mg</a:t>
              </a:r>
              <a:endParaRPr kumimoji="0" lang="en-GB" sz="1600" b="0" i="1" u="none" strike="noStrike" kern="1200" cap="none" spc="0" normalizeH="0" baseline="-2500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94" name="Google Shape;70;p14">
            <a:extLst>
              <a:ext uri="{FF2B5EF4-FFF2-40B4-BE49-F238E27FC236}">
                <a16:creationId xmlns:a16="http://schemas.microsoft.com/office/drawing/2014/main" id="{EE782B76-8781-4F89-B535-B55574FAF47B}"/>
              </a:ext>
            </a:extLst>
          </p:cNvPr>
          <p:cNvSpPr txBox="1"/>
          <p:nvPr/>
        </p:nvSpPr>
        <p:spPr>
          <a:xfrm>
            <a:off x="-3319" y="1244278"/>
            <a:ext cx="9841902" cy="736859"/>
          </a:xfrm>
          <a:prstGeom prst="rect">
            <a:avLst/>
          </a:prstGeom>
          <a:solidFill>
            <a:srgbClr val="CD2C31"/>
          </a:solidFill>
          <a:ln>
            <a:noFill/>
          </a:ln>
        </p:spPr>
        <p:txBody>
          <a:bodyPr spcFirstLastPara="1" wrap="square" lIns="360000" tIns="91425" rIns="252000" bIns="91425" anchor="t" anchorCtr="0">
            <a:noAutofit/>
          </a:bodyPr>
          <a:lstStyle/>
          <a:p>
            <a:pPr algn="just">
              <a:lnSpc>
                <a:spcPct val="107000"/>
              </a:lnSpc>
              <a:spcAft>
                <a:spcPts val="800"/>
              </a:spcAft>
            </a:pPr>
            <a:r>
              <a:rPr lang="en-GB" sz="1800" dirty="0">
                <a:solidFill>
                  <a:schemeClr val="bg1"/>
                </a:solidFill>
                <a:effectLst/>
                <a:latin typeface="Tahoma" panose="020B0604030504040204" pitchFamily="34" charset="0"/>
                <a:ea typeface="Calibri" panose="020F0502020204030204" pitchFamily="34" charset="0"/>
                <a:cs typeface="Times New Roman" panose="02020603050405020304" pitchFamily="18" charset="0"/>
              </a:rPr>
              <a:t>Our Advanced Engineering team, in collaboration with QUB have developed several </a:t>
            </a:r>
            <a:r>
              <a:rPr lang="en-GB" sz="1800" b="1" dirty="0">
                <a:solidFill>
                  <a:schemeClr val="bg1"/>
                </a:solidFill>
                <a:effectLst/>
                <a:latin typeface="Tahoma" panose="020B0604030504040204" pitchFamily="34" charset="0"/>
                <a:ea typeface="Calibri" panose="020F0502020204030204" pitchFamily="34" charset="0"/>
                <a:cs typeface="Times New Roman" panose="02020603050405020304" pitchFamily="18" charset="0"/>
              </a:rPr>
              <a:t>customer advisory tools </a:t>
            </a:r>
            <a:r>
              <a:rPr lang="en-GB" sz="1800" dirty="0">
                <a:solidFill>
                  <a:schemeClr val="bg1"/>
                </a:solidFill>
                <a:effectLst/>
                <a:latin typeface="Tahoma" panose="020B0604030504040204" pitchFamily="34" charset="0"/>
                <a:ea typeface="Calibri" panose="020F0502020204030204" pitchFamily="34" charset="0"/>
                <a:cs typeface="Times New Roman" panose="02020603050405020304" pitchFamily="18" charset="0"/>
              </a:rPr>
              <a:t>to support the decision-making process for vehicle operators:</a:t>
            </a:r>
            <a:endParaRPr lang="en-GB"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6" name="TextBox 95">
            <a:extLst>
              <a:ext uri="{FF2B5EF4-FFF2-40B4-BE49-F238E27FC236}">
                <a16:creationId xmlns:a16="http://schemas.microsoft.com/office/drawing/2014/main" id="{7678E763-1A85-49F7-8E16-A7BB581060FC}"/>
              </a:ext>
            </a:extLst>
          </p:cNvPr>
          <p:cNvSpPr txBox="1"/>
          <p:nvPr/>
        </p:nvSpPr>
        <p:spPr>
          <a:xfrm>
            <a:off x="7976224" y="2768948"/>
            <a:ext cx="3942591" cy="2826306"/>
          </a:xfrm>
          <a:prstGeom prst="roundRect">
            <a:avLst/>
          </a:prstGeom>
          <a:solidFill>
            <a:srgbClr val="FFC000"/>
          </a:solidFill>
        </p:spPr>
        <p:txBody>
          <a:bodyPr wrap="square">
            <a:spAutoFit/>
          </a:bodyPr>
          <a:lstStyle/>
          <a:p>
            <a:pPr marR="0" lvl="0" algn="l" defTabSz="914400" rtl="0" eaLnBrk="1" fontAlgn="auto" latinLnBrk="0" hangingPunct="1">
              <a:lnSpc>
                <a:spcPct val="100000"/>
              </a:lnSpc>
              <a:spcBef>
                <a:spcPts val="0"/>
              </a:spcBef>
              <a:spcAft>
                <a:spcPts val="0"/>
              </a:spcAft>
              <a:buClr>
                <a:srgbClr val="ED7D31"/>
              </a:buClr>
              <a:buSzTx/>
              <a:tabLst/>
              <a:defRPr/>
            </a:pPr>
            <a:r>
              <a:rPr kumimoji="0" lang="en-GB" sz="16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echnology Recommendation (FCEV or EV?)</a:t>
            </a:r>
          </a:p>
          <a:p>
            <a:pPr marL="285750" marR="0" lvl="0" indent="-285750" algn="l" defTabSz="914400" rtl="0" eaLnBrk="1" fontAlgn="auto" latinLnBrk="0" hangingPunct="1">
              <a:lnSpc>
                <a:spcPct val="100000"/>
              </a:lnSpc>
              <a:spcBef>
                <a:spcPts val="0"/>
              </a:spcBef>
              <a:spcAft>
                <a:spcPts val="0"/>
              </a:spcAft>
              <a:buClr>
                <a:srgbClr val="CD2C31"/>
              </a:buClr>
              <a:buSzTx/>
              <a:buFont typeface="Tahoma" panose="020B060403050404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ange/remaining capacity</a:t>
            </a:r>
          </a:p>
          <a:p>
            <a:pPr marL="285750" marR="0" lvl="0" indent="-285750" algn="l" defTabSz="914400" rtl="0" eaLnBrk="1" fontAlgn="auto" latinLnBrk="0" hangingPunct="1">
              <a:lnSpc>
                <a:spcPct val="100000"/>
              </a:lnSpc>
              <a:spcBef>
                <a:spcPts val="0"/>
              </a:spcBef>
              <a:spcAft>
                <a:spcPts val="0"/>
              </a:spcAft>
              <a:buClr>
                <a:srgbClr val="CD2C31"/>
              </a:buClr>
              <a:buSzTx/>
              <a:buFont typeface="Tahoma" panose="020B060403050404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omplete the daily maximum distance?</a:t>
            </a:r>
          </a:p>
          <a:p>
            <a:pPr marL="285750" marR="0" lvl="0" indent="-285750" algn="l" defTabSz="914400" rtl="0" eaLnBrk="1" fontAlgn="auto" latinLnBrk="0" hangingPunct="1">
              <a:lnSpc>
                <a:spcPct val="100000"/>
              </a:lnSpc>
              <a:spcBef>
                <a:spcPts val="0"/>
              </a:spcBef>
              <a:spcAft>
                <a:spcPts val="0"/>
              </a:spcAft>
              <a:buClr>
                <a:srgbClr val="CD2C31"/>
              </a:buClr>
              <a:buSzTx/>
              <a:buFont typeface="Tahoma" panose="020B060403050404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omplete in winter/summer conditions?</a:t>
            </a:r>
          </a:p>
          <a:p>
            <a:pPr marL="285750" marR="0" lvl="0" indent="-285750" algn="l" defTabSz="914400" rtl="0" eaLnBrk="1" fontAlgn="auto" latinLnBrk="0" hangingPunct="1">
              <a:lnSpc>
                <a:spcPct val="100000"/>
              </a:lnSpc>
              <a:spcBef>
                <a:spcPts val="0"/>
              </a:spcBef>
              <a:spcAft>
                <a:spcPts val="0"/>
              </a:spcAft>
              <a:buClr>
                <a:srgbClr val="CD2C31"/>
              </a:buClr>
              <a:buSzTx/>
              <a:buFont typeface="Tahoma" panose="020B060403050404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How much capacity is left?</a:t>
            </a:r>
          </a:p>
          <a:p>
            <a:pPr marL="285750" marR="0" lvl="0" indent="-285750" algn="l" defTabSz="914400" rtl="0" eaLnBrk="1" fontAlgn="auto" latinLnBrk="0" hangingPunct="1">
              <a:lnSpc>
                <a:spcPct val="100000"/>
              </a:lnSpc>
              <a:spcBef>
                <a:spcPts val="0"/>
              </a:spcBef>
              <a:spcAft>
                <a:spcPts val="0"/>
              </a:spcAft>
              <a:buClr>
                <a:srgbClr val="CD2C31"/>
              </a:buClr>
              <a:buSzTx/>
              <a:buFont typeface="Tahoma" panose="020B060403050404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Number of </a:t>
            </a:r>
            <a:r>
              <a:rPr kumimoji="0" lang="en-GB" sz="16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efuell</a:t>
            </a:r>
            <a:r>
              <a:rPr lang="en-GB" sz="1600" dirty="0" err="1">
                <a:solidFill>
                  <a:prstClr val="black"/>
                </a:solidFill>
                <a:latin typeface="Tahoma" panose="020B0604030504040204" pitchFamily="34" charset="0"/>
                <a:ea typeface="Tahoma" panose="020B0604030504040204" pitchFamily="34" charset="0"/>
                <a:cs typeface="Tahoma" panose="020B0604030504040204" pitchFamily="34" charset="0"/>
              </a:rPr>
              <a:t>ing</a:t>
            </a:r>
            <a:r>
              <a:rPr lang="en-GB" sz="1600" dirty="0">
                <a:solidFill>
                  <a:prstClr val="black"/>
                </a:solidFill>
                <a:latin typeface="Tahoma" panose="020B0604030504040204" pitchFamily="34" charset="0"/>
                <a:ea typeface="Tahoma" panose="020B0604030504040204" pitchFamily="34" charset="0"/>
                <a:cs typeface="Tahoma" panose="020B0604030504040204" pitchFamily="34" charset="0"/>
              </a:rPr>
              <a:t>/recharging events?</a:t>
            </a:r>
            <a:endParaRPr kumimoji="0" lang="en-GB" sz="16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050" name="Picture 2" descr="See the source image">
            <a:extLst>
              <a:ext uri="{FF2B5EF4-FFF2-40B4-BE49-F238E27FC236}">
                <a16:creationId xmlns:a16="http://schemas.microsoft.com/office/drawing/2014/main" id="{DE6E4D42-99CF-42E8-95B7-02C4266FEE0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3142" r="10638" b="39840"/>
          <a:stretch/>
        </p:blipFill>
        <p:spPr bwMode="auto">
          <a:xfrm>
            <a:off x="537896" y="2280469"/>
            <a:ext cx="2214345" cy="124470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887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RZBqT9cEFUE.MjtjFb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RZBqT9cEFUE.MjtjF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RZBqT9cEFUE.MjtjFb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9Yt9zcKoeDOZ4Tvddhb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RZBqT9cEFUE.MjtjF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4BDEDAF7F04CB44808FB66BD2494817" ma:contentTypeVersion="10" ma:contentTypeDescription="Create a new document." ma:contentTypeScope="" ma:versionID="98447ed5c1f9c92470426f9fe9b9da5e">
  <xsd:schema xmlns:xsd="http://www.w3.org/2001/XMLSchema" xmlns:xs="http://www.w3.org/2001/XMLSchema" xmlns:p="http://schemas.microsoft.com/office/2006/metadata/properties" xmlns:ns2="ef0b0bf8-9b2d-4537-a09e-480623a224ba" targetNamespace="http://schemas.microsoft.com/office/2006/metadata/properties" ma:root="true" ma:fieldsID="e7d244f1e720e06ada96cf745d35e6c6" ns2:_="">
    <xsd:import namespace="ef0b0bf8-9b2d-4537-a09e-480623a224b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0b0bf8-9b2d-4537-a09e-480623a224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2C6261-D6E1-4ED3-8185-5D89BCE2BEE2}">
  <ds:schemaRefs>
    <ds:schemaRef ds:uri="http://schemas.microsoft.com/sharepoint/v3/contenttype/forms"/>
  </ds:schemaRefs>
</ds:datastoreItem>
</file>

<file path=customXml/itemProps2.xml><?xml version="1.0" encoding="utf-8"?>
<ds:datastoreItem xmlns:ds="http://schemas.openxmlformats.org/officeDocument/2006/customXml" ds:itemID="{E153D595-9298-4D99-8393-887645851535}"/>
</file>

<file path=customXml/itemProps3.xml><?xml version="1.0" encoding="utf-8"?>
<ds:datastoreItem xmlns:ds="http://schemas.openxmlformats.org/officeDocument/2006/customXml" ds:itemID="{220FDE8A-D44D-48EA-B549-1C5C8EB167A0}">
  <ds:schemaRefs>
    <ds:schemaRef ds:uri="http://schemas.openxmlformats.org/package/2006/metadata/core-properties"/>
    <ds:schemaRef ds:uri="0dea330b-9b2d-43d7-9d5b-1ec1f3f8753a"/>
    <ds:schemaRef ds:uri="http://schemas.microsoft.com/office/infopath/2007/PartnerControls"/>
    <ds:schemaRef ds:uri="http://purl.org/dc/elements/1.1/"/>
    <ds:schemaRef ds:uri="http://schemas.microsoft.com/office/2006/documentManagement/types"/>
    <ds:schemaRef ds:uri="http://schemas.microsoft.com/office/2006/metadata/properties"/>
    <ds:schemaRef ds:uri="678dad89-2398-43ee-8481-ec861901123a"/>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0991</TotalTime>
  <Words>990</Words>
  <Application>Microsoft Office PowerPoint</Application>
  <PresentationFormat>Widescreen</PresentationFormat>
  <Paragraphs>136</Paragraphs>
  <Slides>11</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alibri Light</vt:lpstr>
      <vt:lpstr>Roboto</vt:lpstr>
      <vt:lpstr>Roboto Light</vt:lpstr>
      <vt:lpstr>Tahoma</vt:lpstr>
      <vt:lpstr>Office Theme</vt:lpstr>
      <vt:lpstr>think-cell Slide</vt:lpstr>
      <vt:lpstr>PowerPoint Presentation</vt:lpstr>
      <vt:lpstr>Organisation Background</vt:lpstr>
      <vt:lpstr>PowerPoint Presentation</vt:lpstr>
      <vt:lpstr>PowerPoint Presentation</vt:lpstr>
      <vt:lpstr>PowerPoint Presentation</vt:lpstr>
      <vt:lpstr>Orders for 120+ FCEV buses: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CEV for USA</dc:title>
  <dc:creator>Andy Harris</dc:creator>
  <cp:lastModifiedBy>Joanna Wilson (JWilson)</cp:lastModifiedBy>
  <cp:revision>93</cp:revision>
  <dcterms:created xsi:type="dcterms:W3CDTF">2020-08-20T16:09:17Z</dcterms:created>
  <dcterms:modified xsi:type="dcterms:W3CDTF">2021-04-14T21:5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BDEDAF7F04CB44808FB66BD2494817</vt:lpwstr>
  </property>
</Properties>
</file>